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0"/>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Correlation Analysis P3Y" id="{AE36A654-1463-4692-8D07-0D7618BAF8F7}">
          <p14:sldIdLst>
            <p14:sldId id="2147477365"/>
            <p14:sldId id="2147477366"/>
            <p14:sldId id="2147477367"/>
            <p14:sldId id="2147477368"/>
            <p14:sldId id="2147477369"/>
            <p14:sldId id="2147477370"/>
            <p14:sldId id="2147477371"/>
            <p14:sldId id="2147477372"/>
            <p14:sldId id="2147477373"/>
            <p14:sldId id="2147477374"/>
          </p14:sldIdLst>
        </p14:section>
        <p14:section name="Sectors Price Correlation Analysis P3Y" id="{15270548-A544-481E-A6E5-341E4A48C23E}">
          <p14:sldIdLst>
            <p14:sldId id="2147477375"/>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s Price Correlation Analysis P3Y" id="{89528FB6-E152-4332-BC58-0CA8A1C0DD4C}">
          <p14:sldIdLst>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notesMaster" Target="notesMasters/notesMaster1.xml"/><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 Id="rId45"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5032695666301126</c:v>
                </c:pt>
                <c:pt idx="1">
                  <c:v>2.534091832588379</c:v>
                </c:pt>
                <c:pt idx="2">
                  <c:v>2.52043002061189</c:v>
                </c:pt>
                <c:pt idx="3">
                  <c:v>2.617790462599596</c:v>
                </c:pt>
                <c:pt idx="4">
                  <c:v>2.8358732357779894</c:v>
                </c:pt>
                <c:pt idx="5">
                  <c:v>2.911048482980316</c:v>
                </c:pt>
                <c:pt idx="6">
                  <c:v>2.772959741224811</c:v>
                </c:pt>
                <c:pt idx="7">
                  <c:v>2.67164113976524</c:v>
                </c:pt>
                <c:pt idx="8">
                  <c:v>2.4125267411457094</c:v>
                </c:pt>
                <c:pt idx="9">
                  <c:v>2.4426921545201115</c:v>
                </c:pt>
                <c:pt idx="10">
                  <c:v>2.4563246395334906</c:v>
                </c:pt>
                <c:pt idx="11">
                  <c:v>2.205939417937042</c:v>
                </c:pt>
                <c:pt idx="12">
                  <c:v>2.2441444698887145</c:v>
                </c:pt>
                <c:pt idx="13">
                  <c:v>2.256573418177452</c:v>
                </c:pt>
                <c:pt idx="14">
                  <c:v>2.3434326192711445</c:v>
                </c:pt>
                <c:pt idx="15">
                  <c:v>1.9150664072413501</c:v>
                </c:pt>
                <c:pt idx="16">
                  <c:v>1.8693064291443287</c:v>
                </c:pt>
                <c:pt idx="17">
                  <c:v>1.8447423544197739</c:v>
                </c:pt>
                <c:pt idx="18">
                  <c:v>1.942796097718294</c:v>
                </c:pt>
                <c:pt idx="19">
                  <c:v>1.8792847692739447</c:v>
                </c:pt>
                <c:pt idx="20">
                  <c:v>2.249173187061386</c:v>
                </c:pt>
                <c:pt idx="21">
                  <c:v>2.2282521627683436</c:v>
                </c:pt>
                <c:pt idx="22">
                  <c:v>1.7466537877742514</c:v>
                </c:pt>
                <c:pt idx="23">
                  <c:v>1.1045578810558867</c:v>
                </c:pt>
                <c:pt idx="24">
                  <c:v>1.0462165647489496</c:v>
                </c:pt>
                <c:pt idx="25">
                  <c:v>1.0415053494858666</c:v>
                </c:pt>
                <c:pt idx="26">
                  <c:v>1.0362976406533573</c:v>
                </c:pt>
                <c:pt idx="27">
                  <c:v>1.0235466963151207</c:v>
                </c:pt>
                <c:pt idx="28">
                  <c:v>1.026547965986666</c:v>
                </c:pt>
                <c:pt idx="29">
                  <c:v>1.0154964834902849</c:v>
                </c:pt>
                <c:pt idx="30">
                  <c:v>0.7297507788161994</c:v>
                </c:pt>
                <c:pt idx="31">
                  <c:v>0.6786821705426357</c:v>
                </c:pt>
                <c:pt idx="32">
                  <c:v>0.6915571911506697</c:v>
                </c:pt>
                <c:pt idx="33">
                  <c:v>0.7060025542784163</c:v>
                </c:pt>
                <c:pt idx="34">
                  <c:v>0.7140009331127795</c:v>
                </c:pt>
                <c:pt idx="35">
                  <c:v>0.6997376387487386</c:v>
                </c:pt>
                <c:pt idx="36">
                  <c:v>0.7154207880655099</c:v>
                </c:pt>
                <c:pt idx="37">
                  <c:v>0.7244873046875</c:v>
                </c:pt>
                <c:pt idx="38">
                  <c:v>0.7728735817172286</c:v>
                </c:pt>
                <c:pt idx="39">
                  <c:v>0.8906954282034772</c:v>
                </c:pt>
                <c:pt idx="40">
                  <c:v>1.0311886149528964</c:v>
                </c:pt>
                <c:pt idx="41">
                  <c:v>1.082631705556892</c:v>
                </c:pt>
                <c:pt idx="42">
                  <c:v>1.183003904834749</c:v>
                </c:pt>
                <c:pt idx="43">
                  <c:v>1.2323426783780531</c:v>
                </c:pt>
                <c:pt idx="44">
                  <c:v>1.634441087613293</c:v>
                </c:pt>
                <c:pt idx="45">
                  <c:v>2.0273972602739727</c:v>
                </c:pt>
                <c:pt idx="46">
                  <c:v>2.368506138856119</c:v>
                </c:pt>
                <c:pt idx="47">
                  <c:v>2.426547675778712</c:v>
                </c:pt>
                <c:pt idx="48">
                  <c:v>2.508483402039488</c:v>
                </c:pt>
                <c:pt idx="49">
                  <c:v>2.3840318848032913</c:v>
                </c:pt>
                <c:pt idx="50">
                  <c:v>1.9715982546864899</c:v>
                </c:pt>
                <c:pt idx="51">
                  <c:v>1.780185493866735</c:v>
                </c:pt>
                <c:pt idx="52">
                  <c:v>1.1796710419705072</c:v>
                </c:pt>
                <c:pt idx="53">
                  <c:v>0.904307793488984</c:v>
                </c:pt>
                <c:pt idx="54">
                  <c:v>0.7986503516403105</c:v>
                </c:pt>
                <c:pt idx="55">
                  <c:v>0.9217899617012699</c:v>
                </c:pt>
                <c:pt idx="56">
                  <c:v>1.18972572215695</c:v>
                </c:pt>
                <c:pt idx="57">
                  <c:v>1.389806871487132</c:v>
                </c:pt>
                <c:pt idx="58">
                  <c:v>1.499833208239513</c:v>
                </c:pt>
                <c:pt idx="59">
                  <c:v>1.4564128467399082</c:v>
                </c:pt>
                <c:pt idx="60">
                  <c:v>1.4380047312178807</c:v>
                </c:pt>
                <c:pt idx="61">
                  <c:v>1.428216814519411</c:v>
                </c:pt>
                <c:pt idx="62">
                  <c:v>1.4897515782569484</c:v>
                </c:pt>
                <c:pt idx="63">
                  <c:v>1.6211658970976253</c:v>
                </c:pt>
                <c:pt idx="64">
                  <c:v>1.688266056545187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74463977655467</c:v>
                </c:pt>
                <c:pt idx="1">
                  <c:v>1.7681159420289854</c:v>
                </c:pt>
                <c:pt idx="2">
                  <c:v>1.8296886737334113</c:v>
                </c:pt>
                <c:pt idx="3">
                  <c:v>1.8289369504521396</c:v>
                </c:pt>
                <c:pt idx="4">
                  <c:v>1.7662412278901791</c:v>
                </c:pt>
                <c:pt idx="5">
                  <c:v>1.7409414428987382</c:v>
                </c:pt>
                <c:pt idx="6">
                  <c:v>1.792096570286693</c:v>
                </c:pt>
                <c:pt idx="7">
                  <c:v>1.6976234003656308</c:v>
                </c:pt>
                <c:pt idx="8">
                  <c:v>1.6802016241949036</c:v>
                </c:pt>
                <c:pt idx="9">
                  <c:v>1.6744064596472903</c:v>
                </c:pt>
                <c:pt idx="10">
                  <c:v>1.6257811881971362</c:v>
                </c:pt>
                <c:pt idx="11">
                  <c:v>1.6392380204241948</c:v>
                </c:pt>
                <c:pt idx="12">
                  <c:v>1.6363458145461673</c:v>
                </c:pt>
                <c:pt idx="13">
                  <c:v>1.6733543555380372</c:v>
                </c:pt>
                <c:pt idx="14">
                  <c:v>1.5691063295115437</c:v>
                </c:pt>
                <c:pt idx="15">
                  <c:v>1.6362604680284887</c:v>
                </c:pt>
                <c:pt idx="16">
                  <c:v>1.6446960235284638</c:v>
                </c:pt>
                <c:pt idx="17">
                  <c:v>1.629324412532637</c:v>
                </c:pt>
                <c:pt idx="18">
                  <c:v>1.5985004232676259</c:v>
                </c:pt>
                <c:pt idx="19">
                  <c:v>1.5934254673270491</c:v>
                </c:pt>
                <c:pt idx="20">
                  <c:v>1.5924462705436158</c:v>
                </c:pt>
                <c:pt idx="21">
                  <c:v>1.5987812069982308</c:v>
                </c:pt>
                <c:pt idx="22">
                  <c:v>1.622285736969553</c:v>
                </c:pt>
                <c:pt idx="23">
                  <c:v>1.5395694903115427</c:v>
                </c:pt>
                <c:pt idx="24">
                  <c:v>1.6123653769445552</c:v>
                </c:pt>
                <c:pt idx="25">
                  <c:v>1.5751098444365277</c:v>
                </c:pt>
                <c:pt idx="26">
                  <c:v>1.6226883910386964</c:v>
                </c:pt>
                <c:pt idx="27">
                  <c:v>1.5124866848147709</c:v>
                </c:pt>
                <c:pt idx="28">
                  <c:v>1.556555726637451</c:v>
                </c:pt>
                <c:pt idx="29">
                  <c:v>1.5309452658068574</c:v>
                </c:pt>
                <c:pt idx="30">
                  <c:v>1.5326018063698306</c:v>
                </c:pt>
                <c:pt idx="31">
                  <c:v>1.5304041752639885</c:v>
                </c:pt>
                <c:pt idx="32">
                  <c:v>1.4898148148148147</c:v>
                </c:pt>
                <c:pt idx="33">
                  <c:v>0.9583032924777698</c:v>
                </c:pt>
                <c:pt idx="34">
                  <c:v>1.2495369458128078</c:v>
                </c:pt>
                <c:pt idx="35">
                  <c:v>1.3774685639954274</c:v>
                </c:pt>
                <c:pt idx="36">
                  <c:v>1.3309577542859405</c:v>
                </c:pt>
                <c:pt idx="37">
                  <c:v>1.2146164921975326</c:v>
                </c:pt>
                <c:pt idx="38">
                  <c:v>1.3457517582208705</c:v>
                </c:pt>
                <c:pt idx="39">
                  <c:v>1.578789077958053</c:v>
                </c:pt>
                <c:pt idx="40">
                  <c:v>1.3684570784345305</c:v>
                </c:pt>
                <c:pt idx="41">
                  <c:v>1.4300251358144813</c:v>
                </c:pt>
                <c:pt idx="42">
                  <c:v>1.5575781876503607</c:v>
                </c:pt>
                <c:pt idx="43">
                  <c:v>1.589640634410761</c:v>
                </c:pt>
                <c:pt idx="44">
                  <c:v>1.583828436558965</c:v>
                </c:pt>
                <c:pt idx="45">
                  <c:v>1.441695119501908</c:v>
                </c:pt>
                <c:pt idx="46">
                  <c:v>1.4180020181634712</c:v>
                </c:pt>
                <c:pt idx="47">
                  <c:v>1.4159565613729144</c:v>
                </c:pt>
                <c:pt idx="48">
                  <c:v>1.4618120036350706</c:v>
                </c:pt>
                <c:pt idx="49">
                  <c:v>1.461632108074144</c:v>
                </c:pt>
                <c:pt idx="50">
                  <c:v>1.5733739837398373</c:v>
                </c:pt>
                <c:pt idx="51">
                  <c:v>1.6002896751500104</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5.149628585873542</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5.149628585873542</c:v>
                </c:pt>
                <c:pt idx="1">
                  <c:v>-5.149628585873542</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804788011912366</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804788011912366</c:v>
                </c:pt>
                <c:pt idx="1">
                  <c:v>1.3804788011912366</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804788011912366</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804788011912366</c:v>
                </c:pt>
                <c:pt idx="1">
                  <c:v>1.3804788011912366</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74463977655467</c:v>
                </c:pt>
                <c:pt idx="1">
                  <c:v>1.7681159420289854</c:v>
                </c:pt>
                <c:pt idx="2">
                  <c:v>1.8296886737334113</c:v>
                </c:pt>
                <c:pt idx="3">
                  <c:v>1.8289369504521396</c:v>
                </c:pt>
                <c:pt idx="4">
                  <c:v>1.7662412278901791</c:v>
                </c:pt>
                <c:pt idx="5">
                  <c:v>1.7409414428987382</c:v>
                </c:pt>
                <c:pt idx="6">
                  <c:v>1.792096570286693</c:v>
                </c:pt>
                <c:pt idx="7">
                  <c:v>1.6976234003656308</c:v>
                </c:pt>
                <c:pt idx="8">
                  <c:v>1.6802016241949036</c:v>
                </c:pt>
                <c:pt idx="9">
                  <c:v>1.6744064596472903</c:v>
                </c:pt>
                <c:pt idx="10">
                  <c:v>1.6257811881971362</c:v>
                </c:pt>
                <c:pt idx="11">
                  <c:v>1.6392380204241948</c:v>
                </c:pt>
                <c:pt idx="12">
                  <c:v>1.6363458145461673</c:v>
                </c:pt>
                <c:pt idx="13">
                  <c:v>1.6733543555380372</c:v>
                </c:pt>
                <c:pt idx="14">
                  <c:v>1.5691063295115437</c:v>
                </c:pt>
                <c:pt idx="15">
                  <c:v>1.6362604680284887</c:v>
                </c:pt>
                <c:pt idx="16">
                  <c:v>1.6446960235284638</c:v>
                </c:pt>
                <c:pt idx="17">
                  <c:v>1.629324412532637</c:v>
                </c:pt>
                <c:pt idx="18">
                  <c:v>1.5985004232676259</c:v>
                </c:pt>
                <c:pt idx="19">
                  <c:v>1.5934254673270491</c:v>
                </c:pt>
                <c:pt idx="20">
                  <c:v>1.5924462705436158</c:v>
                </c:pt>
                <c:pt idx="21">
                  <c:v>1.5987812069982308</c:v>
                </c:pt>
                <c:pt idx="22">
                  <c:v>1.622285736969553</c:v>
                </c:pt>
                <c:pt idx="23">
                  <c:v>1.5395694903115427</c:v>
                </c:pt>
                <c:pt idx="24">
                  <c:v>1.6123653769445552</c:v>
                </c:pt>
                <c:pt idx="25">
                  <c:v>1.5751098444365277</c:v>
                </c:pt>
                <c:pt idx="26">
                  <c:v>1.6226883910386964</c:v>
                </c:pt>
                <c:pt idx="27">
                  <c:v>1.5124866848147709</c:v>
                </c:pt>
                <c:pt idx="28">
                  <c:v>1.556555726637451</c:v>
                </c:pt>
                <c:pt idx="29">
                  <c:v>1.5309452658068574</c:v>
                </c:pt>
                <c:pt idx="30">
                  <c:v>1.5326018063698306</c:v>
                </c:pt>
                <c:pt idx="31">
                  <c:v>1.5304041752639885</c:v>
                </c:pt>
                <c:pt idx="32">
                  <c:v>1.4898148148148147</c:v>
                </c:pt>
                <c:pt idx="33">
                  <c:v>0.9583032924777698</c:v>
                </c:pt>
                <c:pt idx="34">
                  <c:v>1.2495369458128078</c:v>
                </c:pt>
                <c:pt idx="35">
                  <c:v>1.3774685639954274</c:v>
                </c:pt>
                <c:pt idx="36">
                  <c:v>1.3309577542859405</c:v>
                </c:pt>
                <c:pt idx="37">
                  <c:v>1.2146164921975326</c:v>
                </c:pt>
                <c:pt idx="38">
                  <c:v>1.3457517582208705</c:v>
                </c:pt>
                <c:pt idx="39">
                  <c:v>1.578789077958053</c:v>
                </c:pt>
                <c:pt idx="40">
                  <c:v>1.3684570784345305</c:v>
                </c:pt>
                <c:pt idx="41">
                  <c:v>1.4300251358144813</c:v>
                </c:pt>
                <c:pt idx="42">
                  <c:v>1.5575781876503607</c:v>
                </c:pt>
                <c:pt idx="43">
                  <c:v>1.589640634410761</c:v>
                </c:pt>
                <c:pt idx="44">
                  <c:v>1.583828436558965</c:v>
                </c:pt>
                <c:pt idx="45">
                  <c:v>1.441695119501908</c:v>
                </c:pt>
                <c:pt idx="46">
                  <c:v>1.4180020181634712</c:v>
                </c:pt>
                <c:pt idx="47">
                  <c:v>1.4159565613729144</c:v>
                </c:pt>
                <c:pt idx="48">
                  <c:v>1.4618120036350706</c:v>
                </c:pt>
                <c:pt idx="49">
                  <c:v>1.461632108074144</c:v>
                </c:pt>
                <c:pt idx="50">
                  <c:v>1.5733739837398373</c:v>
                </c:pt>
                <c:pt idx="51">
                  <c:v>1.6002896751500104</c:v>
                </c:pt>
                <c:pt idx="52">
                  <c:v>1.3804788011912366</c:v>
                </c:pt>
                <c:pt idx="53">
                  <c:v>-5.149628585873542</c:v>
                </c:pt>
                <c:pt idx="54">
                  <c:v>1.3804788011912366</c:v>
                </c:pt>
              </c:numCache>
            </c:numRef>
          </c:xVal>
          <c:yVal>
            <c:numRef>
              <c:f>Sheet1!$B$147:$B$201</c:f>
              <c:numCache>
                <c:formatCode>General</c:formatCode>
                <c:ptCount val="55"/>
                <c:pt idx="0">
                  <c:v>0.0004299090068404681</c:v>
                </c:pt>
                <c:pt idx="1">
                  <c:v>0.00041121547407382917</c:v>
                </c:pt>
                <c:pt idx="2">
                  <c:v>0.0003621865183481832</c:v>
                </c:pt>
                <c:pt idx="3">
                  <c:v>0.00036278509837630885</c:v>
                </c:pt>
                <c:pt idx="4">
                  <c:v>0.0004127082659959255</c:v>
                </c:pt>
                <c:pt idx="5">
                  <c:v>0.00043285390520791077</c:v>
                </c:pt>
                <c:pt idx="6">
                  <c:v>0.0003921202491491925</c:v>
                </c:pt>
                <c:pt idx="7">
                  <c:v>0.0004673470701315114</c:v>
                </c:pt>
                <c:pt idx="8">
                  <c:v>0.00048121963139186063</c:v>
                </c:pt>
                <c:pt idx="9">
                  <c:v>0.00048583418816338275</c:v>
                </c:pt>
                <c:pt idx="10">
                  <c:v>0.0005245533778936926</c:v>
                </c:pt>
                <c:pt idx="11">
                  <c:v>0.000513838010665305</c:v>
                </c:pt>
                <c:pt idx="12">
                  <c:v>0.0005161410079502714</c:v>
                </c:pt>
                <c:pt idx="13">
                  <c:v>0.0004866719545635963</c:v>
                </c:pt>
                <c:pt idx="14">
                  <c:v>0.0005696822695367026</c:v>
                </c:pt>
                <c:pt idx="15">
                  <c:v>0.0005162089674271499</c:v>
                </c:pt>
                <c:pt idx="16">
                  <c:v>0.0005094919278273008</c:v>
                </c:pt>
                <c:pt idx="17">
                  <c:v>0.0005217319895248083</c:v>
                </c:pt>
                <c:pt idx="18">
                  <c:v>0.0005462764260493517</c:v>
                </c:pt>
                <c:pt idx="19">
                  <c:v>0.0005503174972058917</c:v>
                </c:pt>
                <c:pt idx="20">
                  <c:v>0.0005510972091727429</c:v>
                </c:pt>
                <c:pt idx="21">
                  <c:v>0.0005460528443969671</c:v>
                </c:pt>
                <c:pt idx="22">
                  <c:v>0.0005273367256311459</c:v>
                </c:pt>
                <c:pt idx="23">
                  <c:v>0.0005932017779509814</c:v>
                </c:pt>
                <c:pt idx="24">
                  <c:v>0.000535236081059827</c:v>
                </c:pt>
                <c:pt idx="25">
                  <c:v>0.0005649018081326468</c:v>
                </c:pt>
                <c:pt idx="26">
                  <c:v>0.0005270161014200331</c:v>
                </c:pt>
                <c:pt idx="27">
                  <c:v>0.0006147671955452777</c:v>
                </c:pt>
                <c:pt idx="28">
                  <c:v>0.0005796760270915557</c:v>
                </c:pt>
                <c:pt idx="29">
                  <c:v>0.0006000690503571828</c:v>
                </c:pt>
                <c:pt idx="30">
                  <c:v>0.0005987499850555224</c:v>
                </c:pt>
                <c:pt idx="31">
                  <c:v>0.0006004999083609698</c:v>
                </c:pt>
                <c:pt idx="32">
                  <c:v>0.0006328202862507784</c:v>
                </c:pt>
                <c:pt idx="33">
                  <c:v>0.0010560507354280162</c:v>
                </c:pt>
                <c:pt idx="34">
                  <c:v>0.0008241480489640442</c:v>
                </c:pt>
                <c:pt idx="35">
                  <c:v>0.0007222790321093795</c:v>
                </c:pt>
                <c:pt idx="36">
                  <c:v>0.0007593145243944565</c:v>
                </c:pt>
                <c:pt idx="37">
                  <c:v>0.000851954406207404</c:v>
                </c:pt>
                <c:pt idx="38">
                  <c:v>0.0007475343979675081</c:v>
                </c:pt>
                <c:pt idx="39">
                  <c:v>0.0005619721187646791</c:v>
                </c:pt>
                <c:pt idx="40">
                  <c:v>0.0007294546716231248</c:v>
                </c:pt>
                <c:pt idx="41">
                  <c:v>0.0006804294379549769</c:v>
                </c:pt>
                <c:pt idx="42">
                  <c:v>0.0005788618648098856</c:v>
                </c:pt>
                <c:pt idx="43">
                  <c:v>0.0005533312729527995</c:v>
                </c:pt>
                <c:pt idx="44">
                  <c:v>0.0005579593929542371</c:v>
                </c:pt>
                <c:pt idx="45">
                  <c:v>0.0006711368972849203</c:v>
                </c:pt>
                <c:pt idx="46">
                  <c:v>0.0006900031711105134</c:v>
                </c:pt>
                <c:pt idx="47">
                  <c:v>0.0006916319214947638</c:v>
                </c:pt>
                <c:pt idx="48">
                  <c:v>0.0006551182832945997</c:v>
                </c:pt>
                <c:pt idx="49">
                  <c:v>0.0006552615300086525</c:v>
                </c:pt>
                <c:pt idx="50">
                  <c:v>0.0005662840342396914</c:v>
                </c:pt>
                <c:pt idx="51">
                  <c:v>0.0005448516857642434</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numCache>
            </c:numRef>
          </c:xVal>
          <c:yVal>
            <c:numRef>
              <c:f>Sheet1!$B$69:$B$119</c:f>
              <c:numCache>
                <c:formatCode>General</c:formatCode>
                <c:ptCount val="51"/>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469824482476523</c:v>
                </c:pt>
                <c:pt idx="46">
                  <c:v>0.14959375539016215</c:v>
                </c:pt>
                <c:pt idx="47">
                  <c:v>0.1727678888022126</c:v>
                </c:pt>
                <c:pt idx="48">
                  <c:v>0.18135707111942834</c:v>
                </c:pt>
                <c:pt idx="49">
                  <c:v>0.18943809817465748</c:v>
                </c:pt>
                <c:pt idx="50">
                  <c:v>0.18443660531895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0.8210174751202227</c:v>
                </c:pt>
              </c:numCache>
            </c:numRef>
          </c:xVal>
          <c:yVal>
            <c:numRef>
              <c:f>Sheet1!$B$122:$B$123</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0.8210174751202227</c:v>
                </c:pt>
                <c:pt idx="1">
                  <c:v>0.8210174751202227</c:v>
                </c:pt>
              </c:numCache>
            </c:numRef>
          </c:xVal>
          <c:yVal>
            <c:numRef>
              <c:f>Sheet1!$B$126:$B$127</c:f>
              <c:numCache>
                <c:formatCode>General</c:formatCode>
                <c:ptCount val="2"/>
                <c:pt idx="0">
                  <c:v>0.19688931938704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0.8392387754545765</c:v>
                </c:pt>
              </c:numCache>
            </c:numRef>
          </c:xVal>
          <c:yVal>
            <c:numRef>
              <c:f>Sheet1!$B$130:$B$131</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0.8392387754545765</c:v>
                </c:pt>
                <c:pt idx="1">
                  <c:v>0.8392387754545765</c:v>
                </c:pt>
              </c:numCache>
            </c:numRef>
          </c:xVal>
          <c:yVal>
            <c:numRef>
              <c:f>Sheet1!$B$134:$B$135</c:f>
              <c:numCache>
                <c:formatCode>General</c:formatCode>
                <c:ptCount val="2"/>
                <c:pt idx="0">
                  <c:v>0.1910362610868198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0.8392387754545765</c:v>
                </c:pt>
              </c:numCache>
            </c:numRef>
          </c:xVal>
          <c:yVal>
            <c:numRef>
              <c:f>Sheet1!$B$138:$B$139</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0.8392387754545765</c:v>
                </c:pt>
                <c:pt idx="1">
                  <c:v>0.8392387754545765</c:v>
                </c:pt>
              </c:numCache>
            </c:numRef>
          </c:xVal>
          <c:yVal>
            <c:numRef>
              <c:f>Sheet1!$B$142:$B$143</c:f>
              <c:numCache>
                <c:formatCode>General</c:formatCode>
                <c:ptCount val="2"/>
                <c:pt idx="0">
                  <c:v>0.191036261086819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pt idx="51">
                  <c:v>0.8392387754545765</c:v>
                </c:pt>
                <c:pt idx="52">
                  <c:v>0.8210174751202227</c:v>
                </c:pt>
                <c:pt idx="53">
                  <c:v>0.8392387754545765</c:v>
                </c:pt>
              </c:numCache>
            </c:numRef>
          </c:xVal>
          <c:yVal>
            <c:numRef>
              <c:f>Sheet1!$B$146:$B$199</c:f>
              <c:numCache>
                <c:formatCode>General</c:formatCode>
                <c:ptCount val="54"/>
                <c:pt idx="0">
                  <c:v>0.13557390686905874</c:v>
                </c:pt>
                <c:pt idx="1">
                  <c:v>0.15732054622267122</c:v>
                </c:pt>
                <c:pt idx="2">
                  <c:v>0.15613202974396567</c:v>
                </c:pt>
                <c:pt idx="3">
                  <c:v>0.1400709962479446</c:v>
                </c:pt>
                <c:pt idx="4">
                  <c:v>0.133485972514576</c:v>
                </c:pt>
                <c:pt idx="5">
                  <c:v>0.13451387865832132</c:v>
                </c:pt>
                <c:pt idx="6">
                  <c:v>0.14186983199949899</c:v>
                </c:pt>
                <c:pt idx="7">
                  <c:v>0.14726633925416205</c:v>
                </c:pt>
                <c:pt idx="8">
                  <c:v>0.16820992693297349</c:v>
                </c:pt>
                <c:pt idx="9">
                  <c:v>0.1947748763353923</c:v>
                </c:pt>
                <c:pt idx="10">
                  <c:v>0.19503185287132863</c:v>
                </c:pt>
                <c:pt idx="11">
                  <c:v>0.19596339281409786</c:v>
                </c:pt>
                <c:pt idx="12">
                  <c:v>0.19573853834515353</c:v>
                </c:pt>
                <c:pt idx="13">
                  <c:v>0.17662590848488852</c:v>
                </c:pt>
                <c:pt idx="14">
                  <c:v>0.14061707138680934</c:v>
                </c:pt>
                <c:pt idx="15">
                  <c:v>0.1346102448592975</c:v>
                </c:pt>
                <c:pt idx="16">
                  <c:v>0.13403204765344073</c:v>
                </c:pt>
                <c:pt idx="17">
                  <c:v>0.1461420669094406</c:v>
                </c:pt>
                <c:pt idx="18">
                  <c:v>0.17013725095249604</c:v>
                </c:pt>
                <c:pt idx="19">
                  <c:v>0.16326312861619902</c:v>
                </c:pt>
                <c:pt idx="20">
                  <c:v>0.15192403896800816</c:v>
                </c:pt>
                <c:pt idx="21">
                  <c:v>0.13605573787393938</c:v>
                </c:pt>
                <c:pt idx="22">
                  <c:v>0.13563815100304283</c:v>
                </c:pt>
                <c:pt idx="23">
                  <c:v>0.13499570966320196</c:v>
                </c:pt>
                <c:pt idx="24">
                  <c:v>0.1351884420651543</c:v>
                </c:pt>
                <c:pt idx="25">
                  <c:v>0.13522056413214634</c:v>
                </c:pt>
                <c:pt idx="26">
                  <c:v>0.13563815100304283</c:v>
                </c:pt>
                <c:pt idx="27">
                  <c:v>0.1362484702758916</c:v>
                </c:pt>
                <c:pt idx="28">
                  <c:v>0.1499645928814936</c:v>
                </c:pt>
                <c:pt idx="29">
                  <c:v>0.15799510962950408</c:v>
                </c:pt>
                <c:pt idx="30">
                  <c:v>0.18224727020849585</c:v>
                </c:pt>
                <c:pt idx="31">
                  <c:v>0.19512821907230476</c:v>
                </c:pt>
                <c:pt idx="32">
                  <c:v>0.19136993723423584</c:v>
                </c:pt>
                <c:pt idx="33">
                  <c:v>0.19223723304302098</c:v>
                </c:pt>
                <c:pt idx="34">
                  <c:v>0.1932008950527822</c:v>
                </c:pt>
                <c:pt idx="35">
                  <c:v>0.16210673420448551</c:v>
                </c:pt>
                <c:pt idx="36">
                  <c:v>0.14170922166453875</c:v>
                </c:pt>
                <c:pt idx="37">
                  <c:v>0.1500288370154777</c:v>
                </c:pt>
                <c:pt idx="38">
                  <c:v>0.15587505320802936</c:v>
                </c:pt>
                <c:pt idx="39">
                  <c:v>0.17929204004522797</c:v>
                </c:pt>
                <c:pt idx="40">
                  <c:v>0.23679053996098334</c:v>
                </c:pt>
                <c:pt idx="41">
                  <c:v>0.23605173242016633</c:v>
                </c:pt>
                <c:pt idx="42">
                  <c:v>0.23650144135805495</c:v>
                </c:pt>
                <c:pt idx="43">
                  <c:v>0.19397182466059126</c:v>
                </c:pt>
                <c:pt idx="44">
                  <c:v>0.1354454186010906</c:v>
                </c:pt>
                <c:pt idx="45">
                  <c:v>0.1382400384293982</c:v>
                </c:pt>
                <c:pt idx="46">
                  <c:v>0.1440220104879658</c:v>
                </c:pt>
                <c:pt idx="47">
                  <c:v>0.14498567249772704</c:v>
                </c:pt>
                <c:pt idx="48">
                  <c:v>0.17277126044584346</c:v>
                </c:pt>
                <c:pt idx="49">
                  <c:v>0.2035442006242198</c:v>
                </c:pt>
                <c:pt idx="50">
                  <c:v>0.2022593179445381</c:v>
                </c:pt>
                <c:pt idx="51">
                  <c:v>0.19103626108681987</c:v>
                </c:pt>
                <c:pt idx="52">
                  <c:v>0.19688931938704218</c:v>
                </c:pt>
                <c:pt idx="53">
                  <c:v>0.1910362610868198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0.49300364193981205</c:v>
                </c:pt>
                <c:pt idx="1">
                  <c:v>0.5856770399955623</c:v>
                </c:pt>
                <c:pt idx="2">
                  <c:v>0.6721228270524044</c:v>
                </c:pt>
                <c:pt idx="3">
                  <c:v>0.6461663845526926</c:v>
                </c:pt>
                <c:pt idx="4">
                  <c:v>0.6454501452081316</c:v>
                </c:pt>
                <c:pt idx="5">
                  <c:v>0.594909287841863</c:v>
                </c:pt>
                <c:pt idx="6">
                  <c:v>0.6490117173630016</c:v>
                </c:pt>
                <c:pt idx="7">
                  <c:v>0.6232263946663628</c:v>
                </c:pt>
                <c:pt idx="8">
                  <c:v>0.6890570797855566</c:v>
                </c:pt>
                <c:pt idx="9">
                  <c:v>0.6428571428571428</c:v>
                </c:pt>
                <c:pt idx="10">
                  <c:v>0.6164408753754674</c:v>
                </c:pt>
                <c:pt idx="11">
                  <c:v>0.642212333121424</c:v>
                </c:pt>
                <c:pt idx="12">
                  <c:v>0.6422392486406328</c:v>
                </c:pt>
                <c:pt idx="13">
                  <c:v>0.9377597029440368</c:v>
                </c:pt>
                <c:pt idx="14">
                  <c:v>1.5119942196531793</c:v>
                </c:pt>
                <c:pt idx="15">
                  <c:v>1.6334848722370277</c:v>
                </c:pt>
                <c:pt idx="16">
                  <c:v>0.4326767185473411</c:v>
                </c:pt>
                <c:pt idx="17">
                  <c:v>1.7227265488135055</c:v>
                </c:pt>
                <c:pt idx="18">
                  <c:v>1.523903539698209</c:v>
                </c:pt>
                <c:pt idx="19">
                  <c:v>0.4200924349306738</c:v>
                </c:pt>
                <c:pt idx="20">
                  <c:v>0.40398349468338357</c:v>
                </c:pt>
                <c:pt idx="21">
                  <c:v>0.3679474523502164</c:v>
                </c:pt>
                <c:pt idx="22">
                  <c:v>0.5054175695949324</c:v>
                </c:pt>
                <c:pt idx="23">
                  <c:v>0.3447601864381296</c:v>
                </c:pt>
                <c:pt idx="24">
                  <c:v>0.3473423050898429</c:v>
                </c:pt>
                <c:pt idx="25">
                  <c:v>0.3790516206482593</c:v>
                </c:pt>
                <c:pt idx="26">
                  <c:v>0.4041757090473696</c:v>
                </c:pt>
                <c:pt idx="27">
                  <c:v>0.40970735189150603</c:v>
                </c:pt>
                <c:pt idx="28">
                  <c:v>0.4302714474605273</c:v>
                </c:pt>
                <c:pt idx="29">
                  <c:v>0.45039536969104105</c:v>
                </c:pt>
                <c:pt idx="30">
                  <c:v>0.44776240187747834</c:v>
                </c:pt>
                <c:pt idx="31">
                  <c:v>0.4472197562747155</c:v>
                </c:pt>
                <c:pt idx="32">
                  <c:v>0.443740476381426</c:v>
                </c:pt>
                <c:pt idx="33">
                  <c:v>0.49924384766967594</c:v>
                </c:pt>
                <c:pt idx="34">
                  <c:v>0.5615973685563036</c:v>
                </c:pt>
                <c:pt idx="35">
                  <c:v>0.5333333333333333</c:v>
                </c:pt>
                <c:pt idx="36">
                  <c:v>0.4685178108945781</c:v>
                </c:pt>
                <c:pt idx="37">
                  <c:v>0.440554743371923</c:v>
                </c:pt>
                <c:pt idx="38">
                  <c:v>0.4351464435146443</c:v>
                </c:pt>
                <c:pt idx="39">
                  <c:v>0.4394458220175542</c:v>
                </c:pt>
                <c:pt idx="40">
                  <c:v>0.4869345199144964</c:v>
                </c:pt>
                <c:pt idx="41">
                  <c:v>0.5064284056625666</c:v>
                </c:pt>
                <c:pt idx="42">
                  <c:v>0.43859064595393776</c:v>
                </c:pt>
                <c:pt idx="43">
                  <c:v>0.4194326357096141</c:v>
                </c:pt>
                <c:pt idx="44">
                  <c:v>0.3654191033138402</c:v>
                </c:pt>
                <c:pt idx="45">
                  <c:v>0.36636424335257844</c:v>
                </c:pt>
                <c:pt idx="46">
                  <c:v>0.36299467715806527</c:v>
                </c:pt>
                <c:pt idx="47">
                  <c:v>0.4215860949439759</c:v>
                </c:pt>
                <c:pt idx="48">
                  <c:v>0.5115866238065538</c:v>
                </c:pt>
                <c:pt idx="49">
                  <c:v>0.7928676470588235</c:v>
                </c:pt>
                <c:pt idx="50">
                  <c:v>0.9657142857142855</c:v>
                </c:pt>
                <c:pt idx="51">
                  <c:v>0.8638646576790907</c:v>
                </c:pt>
                <c:pt idx="52">
                  <c:v>0.7935345597428113</c:v>
                </c:pt>
                <c:pt idx="53">
                  <c:v>0.9538461538461539</c:v>
                </c:pt>
                <c:pt idx="54">
                  <c:v>1.3388019265502709</c:v>
                </c:pt>
                <c:pt idx="55">
                  <c:v>0.905566325117696</c:v>
                </c:pt>
                <c:pt idx="56">
                  <c:v>1.008910089100891</c:v>
                </c:pt>
                <c:pt idx="57">
                  <c:v>0.9640896408964089</c:v>
                </c:pt>
              </c:numCache>
            </c:numRef>
          </c:xVal>
          <c:yVal>
            <c:numRef>
              <c:f>Sheet1!$B$2:$B$59</c:f>
              <c:numCache>
                <c:formatCode>General</c:formatCode>
                <c:ptCount val="58"/>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4181271980011023</c:v>
                </c:pt>
                <c:pt idx="57">
                  <c:v>0.17979418217885906</c:v>
                </c:pt>
              </c:numCache>
            </c:numRef>
          </c:yVal>
          <c:smooth val="0"/>
          <c:extLst>
            <c:ext xmlns:c16="http://schemas.microsoft.com/office/drawing/2014/chart" uri="{C3380CC4-5D6E-409C-BE32-E72D297353CC}">
              <c16:uniqueId val="{00000000-096C-4121-9522-6AB7243CCAAE}"/>
            </c:ext>
          </c:extLst>
        </c:ser>
        <c:ser>
          <c:idx val="1"/>
          <c:order val="1"/>
          <c:tx>
            <c:strRef>
              <c:f>Sheet1!$B$61</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2:$A$113</c:f>
              <c:numCache>
                <c:formatCode>General</c:formatCode>
                <c:ptCount val="52"/>
                <c:pt idx="0">
                  <c:v>0.364281085751314</c:v>
                </c:pt>
                <c:pt idx="1">
                  <c:v>0.45492652372922193</c:v>
                </c:pt>
                <c:pt idx="2">
                  <c:v>0.4175770925110132</c:v>
                </c:pt>
                <c:pt idx="3">
                  <c:v>0.43925521612818036</c:v>
                </c:pt>
                <c:pt idx="4">
                  <c:v>0.44827889779029845</c:v>
                </c:pt>
                <c:pt idx="5">
                  <c:v>0.44687032309182156</c:v>
                </c:pt>
                <c:pt idx="6">
                  <c:v>0.43696331850808046</c:v>
                </c:pt>
                <c:pt idx="7">
                  <c:v>0.4641259872490247</c:v>
                </c:pt>
                <c:pt idx="8">
                  <c:v>0.45556000400360325</c:v>
                </c:pt>
                <c:pt idx="9">
                  <c:v>0.4208706265256306</c:v>
                </c:pt>
                <c:pt idx="10">
                  <c:v>0.38391530460624074</c:v>
                </c:pt>
                <c:pt idx="11">
                  <c:v>0.36530105524518935</c:v>
                </c:pt>
                <c:pt idx="12">
                  <c:v>0.3628283539402473</c:v>
                </c:pt>
                <c:pt idx="13">
                  <c:v>0.394370595057543</c:v>
                </c:pt>
                <c:pt idx="14">
                  <c:v>0.46432067117222087</c:v>
                </c:pt>
                <c:pt idx="15">
                  <c:v>0.47305863708399365</c:v>
                </c:pt>
                <c:pt idx="16">
                  <c:v>0.47347832161318865</c:v>
                </c:pt>
                <c:pt idx="17">
                  <c:v>0.4402770282424897</c:v>
                </c:pt>
                <c:pt idx="18">
                  <c:v>0.39789677476129715</c:v>
                </c:pt>
                <c:pt idx="19">
                  <c:v>0.4079591027279538</c:v>
                </c:pt>
                <c:pt idx="20">
                  <c:v>0.42301258913636763</c:v>
                </c:pt>
                <c:pt idx="21">
                  <c:v>0.4451101321585903</c:v>
                </c:pt>
                <c:pt idx="22">
                  <c:v>0.4453296945153623</c:v>
                </c:pt>
                <c:pt idx="23">
                  <c:v>0.4462100537019104</c:v>
                </c:pt>
                <c:pt idx="24">
                  <c:v>0.44594594594594594</c:v>
                </c:pt>
                <c:pt idx="25">
                  <c:v>0.44590192798661854</c:v>
                </c:pt>
                <c:pt idx="26">
                  <c:v>0.44515334184010213</c:v>
                </c:pt>
                <c:pt idx="27">
                  <c:v>0.5299396483862504</c:v>
                </c:pt>
                <c:pt idx="28">
                  <c:v>0.5326907188102451</c:v>
                </c:pt>
                <c:pt idx="29">
                  <c:v>0.5189204076012118</c:v>
                </c:pt>
                <c:pt idx="30">
                  <c:v>0.4770975556044924</c:v>
                </c:pt>
                <c:pt idx="31">
                  <c:v>0.45502092050209203</c:v>
                </c:pt>
                <c:pt idx="32">
                  <c:v>0.39418735891647855</c:v>
                </c:pt>
                <c:pt idx="33">
                  <c:v>0.36746272595329205</c:v>
                </c:pt>
                <c:pt idx="34">
                  <c:v>0.3665947421727068</c:v>
                </c:pt>
                <c:pt idx="35">
                  <c:v>0.40889690676288115</c:v>
                </c:pt>
                <c:pt idx="36">
                  <c:v>0.4368372420469046</c:v>
                </c:pt>
                <c:pt idx="37">
                  <c:v>0.4256096487366846</c:v>
                </c:pt>
                <c:pt idx="38">
                  <c:v>0.41743300919611037</c:v>
                </c:pt>
                <c:pt idx="39">
                  <c:v>0.3855092877894181</c:v>
                </c:pt>
                <c:pt idx="40">
                  <c:v>0.3067036401250055</c:v>
                </c:pt>
                <c:pt idx="41">
                  <c:v>0.30772955365789245</c:v>
                </c:pt>
                <c:pt idx="42">
                  <c:v>0.30747873606275616</c:v>
                </c:pt>
                <c:pt idx="43">
                  <c:v>0.36568281938325986</c:v>
                </c:pt>
                <c:pt idx="44">
                  <c:v>0.4455938022713267</c:v>
                </c:pt>
                <c:pt idx="45">
                  <c:v>0.44670230154172375</c:v>
                </c:pt>
                <c:pt idx="46">
                  <c:v>0.44193931921264695</c:v>
                </c:pt>
                <c:pt idx="47">
                  <c:v>0.43384100713090945</c:v>
                </c:pt>
                <c:pt idx="48">
                  <c:v>0.5239415591340514</c:v>
                </c:pt>
                <c:pt idx="49">
                  <c:v>0.4930941506630716</c:v>
                </c:pt>
                <c:pt idx="50">
                  <c:v>0.44059678484915216</c:v>
                </c:pt>
                <c:pt idx="51">
                  <c:v>0.4427989429641048</c:v>
                </c:pt>
              </c:numCache>
            </c:numRef>
          </c:xVal>
          <c:yVal>
            <c:numRef>
              <c:f>Sheet1!$B$62:$B$113</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0.3280178759351971</c:v>
                </c:pt>
              </c:numCache>
            </c:numRef>
          </c:xVal>
          <c:yVal>
            <c:numRef>
              <c:f>Sheet1!$B$116:$B$117</c:f>
              <c:numCache>
                <c:formatCode>General</c:formatCode>
                <c:ptCount val="2"/>
                <c:pt idx="0">
                  <c:v>0.20226454277731523</c:v>
                </c:pt>
                <c:pt idx="1">
                  <c:v>0.20226454277731523</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0.3280178759351971</c:v>
                </c:pt>
                <c:pt idx="1">
                  <c:v>0.3280178759351971</c:v>
                </c:pt>
              </c:numCache>
            </c:numRef>
          </c:xVal>
          <c:yVal>
            <c:numRef>
              <c:f>Sheet1!$B$120:$B$121</c:f>
              <c:numCache>
                <c:formatCode>General</c:formatCode>
                <c:ptCount val="2"/>
                <c:pt idx="0">
                  <c:v>0.2022645427773152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0.37069008054089064</c:v>
                </c:pt>
              </c:numCache>
            </c:numRef>
          </c:xVal>
          <c:yVal>
            <c:numRef>
              <c:f>Sheet1!$B$124:$B$125</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0.37069008054089064</c:v>
                </c:pt>
                <c:pt idx="1">
                  <c:v>0.37069008054089064</c:v>
                </c:pt>
              </c:numCache>
            </c:numRef>
          </c:xVal>
          <c:yVal>
            <c:numRef>
              <c:f>Sheet1!$B$128:$B$129</c:f>
              <c:numCache>
                <c:formatCode>General</c:formatCode>
                <c:ptCount val="2"/>
                <c:pt idx="0">
                  <c:v>0.185607272330652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0.37069008054089064</c:v>
                </c:pt>
              </c:numCache>
            </c:numRef>
          </c:xVal>
          <c:yVal>
            <c:numRef>
              <c:f>Sheet1!$B$132:$B$133</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0.37069008054089064</c:v>
                </c:pt>
                <c:pt idx="1">
                  <c:v>0.37069008054089064</c:v>
                </c:pt>
              </c:numCache>
            </c:numRef>
          </c:xVal>
          <c:yVal>
            <c:numRef>
              <c:f>Sheet1!$B$136:$B$137</c:f>
              <c:numCache>
                <c:formatCode>General</c:formatCode>
                <c:ptCount val="2"/>
                <c:pt idx="0">
                  <c:v>0.185607272330652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94</c:f>
              <c:numCache>
                <c:formatCode>General</c:formatCode>
                <c:ptCount val="55"/>
                <c:pt idx="0">
                  <c:v>0.364281085751314</c:v>
                </c:pt>
                <c:pt idx="1">
                  <c:v>0.45492652372922193</c:v>
                </c:pt>
                <c:pt idx="2">
                  <c:v>0.4175770925110132</c:v>
                </c:pt>
                <c:pt idx="3">
                  <c:v>0.43925521612818036</c:v>
                </c:pt>
                <c:pt idx="4">
                  <c:v>0.44827889779029845</c:v>
                </c:pt>
                <c:pt idx="5">
                  <c:v>0.44687032309182156</c:v>
                </c:pt>
                <c:pt idx="6">
                  <c:v>0.43696331850808046</c:v>
                </c:pt>
                <c:pt idx="7">
                  <c:v>0.4641259872490247</c:v>
                </c:pt>
                <c:pt idx="8">
                  <c:v>0.45556000400360325</c:v>
                </c:pt>
                <c:pt idx="9">
                  <c:v>0.4208706265256306</c:v>
                </c:pt>
                <c:pt idx="10">
                  <c:v>0.38391530460624074</c:v>
                </c:pt>
                <c:pt idx="11">
                  <c:v>0.36530105524518935</c:v>
                </c:pt>
                <c:pt idx="12">
                  <c:v>0.3628283539402473</c:v>
                </c:pt>
                <c:pt idx="13">
                  <c:v>0.394370595057543</c:v>
                </c:pt>
                <c:pt idx="14">
                  <c:v>0.46432067117222087</c:v>
                </c:pt>
                <c:pt idx="15">
                  <c:v>0.47305863708399365</c:v>
                </c:pt>
                <c:pt idx="16">
                  <c:v>0.47347832161318865</c:v>
                </c:pt>
                <c:pt idx="17">
                  <c:v>0.4402770282424897</c:v>
                </c:pt>
                <c:pt idx="18">
                  <c:v>0.39789677476129715</c:v>
                </c:pt>
                <c:pt idx="19">
                  <c:v>0.4079591027279538</c:v>
                </c:pt>
                <c:pt idx="20">
                  <c:v>0.42301258913636763</c:v>
                </c:pt>
                <c:pt idx="21">
                  <c:v>0.4451101321585903</c:v>
                </c:pt>
                <c:pt idx="22">
                  <c:v>0.4453296945153623</c:v>
                </c:pt>
                <c:pt idx="23">
                  <c:v>0.4462100537019104</c:v>
                </c:pt>
                <c:pt idx="24">
                  <c:v>0.44594594594594594</c:v>
                </c:pt>
                <c:pt idx="25">
                  <c:v>0.44590192798661854</c:v>
                </c:pt>
                <c:pt idx="26">
                  <c:v>0.44515334184010213</c:v>
                </c:pt>
                <c:pt idx="27">
                  <c:v>0.5299396483862504</c:v>
                </c:pt>
                <c:pt idx="28">
                  <c:v>0.5326907188102451</c:v>
                </c:pt>
                <c:pt idx="29">
                  <c:v>0.5189204076012118</c:v>
                </c:pt>
                <c:pt idx="30">
                  <c:v>0.4770975556044924</c:v>
                </c:pt>
                <c:pt idx="31">
                  <c:v>0.45502092050209203</c:v>
                </c:pt>
                <c:pt idx="32">
                  <c:v>0.39418735891647855</c:v>
                </c:pt>
                <c:pt idx="33">
                  <c:v>0.36746272595329205</c:v>
                </c:pt>
                <c:pt idx="34">
                  <c:v>0.3665947421727068</c:v>
                </c:pt>
                <c:pt idx="35">
                  <c:v>0.40889690676288115</c:v>
                </c:pt>
                <c:pt idx="36">
                  <c:v>0.4368372420469046</c:v>
                </c:pt>
                <c:pt idx="37">
                  <c:v>0.4256096487366846</c:v>
                </c:pt>
                <c:pt idx="38">
                  <c:v>0.41743300919611037</c:v>
                </c:pt>
                <c:pt idx="39">
                  <c:v>0.3855092877894181</c:v>
                </c:pt>
                <c:pt idx="40">
                  <c:v>0.3067036401250055</c:v>
                </c:pt>
                <c:pt idx="41">
                  <c:v>0.30772955365789245</c:v>
                </c:pt>
                <c:pt idx="42">
                  <c:v>0.30747873606275616</c:v>
                </c:pt>
                <c:pt idx="43">
                  <c:v>0.36568281938325986</c:v>
                </c:pt>
                <c:pt idx="44">
                  <c:v>0.4455938022713267</c:v>
                </c:pt>
                <c:pt idx="45">
                  <c:v>0.44670230154172375</c:v>
                </c:pt>
                <c:pt idx="46">
                  <c:v>0.44193931921264695</c:v>
                </c:pt>
                <c:pt idx="47">
                  <c:v>0.43384100713090945</c:v>
                </c:pt>
                <c:pt idx="48">
                  <c:v>0.5239415591340514</c:v>
                </c:pt>
                <c:pt idx="49">
                  <c:v>0.4930941506630716</c:v>
                </c:pt>
                <c:pt idx="50">
                  <c:v>0.44059678484915216</c:v>
                </c:pt>
                <c:pt idx="51">
                  <c:v>0.4427989429641048</c:v>
                </c:pt>
                <c:pt idx="52">
                  <c:v>0.37069008054089064</c:v>
                </c:pt>
                <c:pt idx="53">
                  <c:v>0.3280178759351971</c:v>
                </c:pt>
                <c:pt idx="54">
                  <c:v>0.37069008054089064</c:v>
                </c:pt>
              </c:numCache>
            </c:numRef>
          </c:xVal>
          <c:yVal>
            <c:numRef>
              <c:f>Sheet1!$B$140:$B$194</c:f>
              <c:numCache>
                <c:formatCode>General</c:formatCode>
                <c:ptCount val="55"/>
                <c:pt idx="0">
                  <c:v>0.1881090497871417</c:v>
                </c:pt>
                <c:pt idx="1">
                  <c:v>0.1527252305280643</c:v>
                </c:pt>
                <c:pt idx="2">
                  <c:v>0.16730473450681427</c:v>
                </c:pt>
                <c:pt idx="3">
                  <c:v>0.1588425898577617</c:v>
                </c:pt>
                <c:pt idx="4">
                  <c:v>0.15532015863445342</c:v>
                </c:pt>
                <c:pt idx="5">
                  <c:v>0.15587000155711614</c:v>
                </c:pt>
                <c:pt idx="6">
                  <c:v>0.15973724151325583</c:v>
                </c:pt>
                <c:pt idx="7">
                  <c:v>0.14913418213416157</c:v>
                </c:pt>
                <c:pt idx="8">
                  <c:v>0.152477948899414</c:v>
                </c:pt>
                <c:pt idx="9">
                  <c:v>0.16601908996808692</c:v>
                </c:pt>
                <c:pt idx="10">
                  <c:v>0.18044475176229002</c:v>
                </c:pt>
                <c:pt idx="11">
                  <c:v>0.1877109005032268</c:v>
                </c:pt>
                <c:pt idx="12">
                  <c:v>0.18867612962018554</c:v>
                </c:pt>
                <c:pt idx="13">
                  <c:v>0.1763634861643434</c:v>
                </c:pt>
                <c:pt idx="14">
                  <c:v>0.14905818646460894</c:v>
                </c:pt>
                <c:pt idx="15">
                  <c:v>0.14564728555871337</c:v>
                </c:pt>
                <c:pt idx="16">
                  <c:v>0.14548345997787734</c:v>
                </c:pt>
                <c:pt idx="17">
                  <c:v>0.15844372129938739</c:v>
                </c:pt>
                <c:pt idx="18">
                  <c:v>0.1749870274247092</c:v>
                </c:pt>
                <c:pt idx="19">
                  <c:v>0.17105915634768362</c:v>
                </c:pt>
                <c:pt idx="20">
                  <c:v>0.1651829660597167</c:v>
                </c:pt>
                <c:pt idx="21">
                  <c:v>0.15655709932212558</c:v>
                </c:pt>
                <c:pt idx="22">
                  <c:v>0.15647139225377857</c:v>
                </c:pt>
                <c:pt idx="23">
                  <c:v>0.15612774042711433</c:v>
                </c:pt>
                <c:pt idx="24">
                  <c:v>0.1562308359751136</c:v>
                </c:pt>
                <c:pt idx="25">
                  <c:v>0.15624801856644682</c:v>
                </c:pt>
                <c:pt idx="26">
                  <c:v>0.15654023224535962</c:v>
                </c:pt>
                <c:pt idx="27">
                  <c:v>0.12344354902116009</c:v>
                </c:pt>
                <c:pt idx="28">
                  <c:v>0.12236965737450772</c:v>
                </c:pt>
                <c:pt idx="29">
                  <c:v>0.1277449549496646</c:v>
                </c:pt>
                <c:pt idx="30">
                  <c:v>0.14407067711465357</c:v>
                </c:pt>
                <c:pt idx="31">
                  <c:v>0.15268838235981244</c:v>
                </c:pt>
                <c:pt idx="32">
                  <c:v>0.1764350131450916</c:v>
                </c:pt>
                <c:pt idx="33">
                  <c:v>0.18686708345805142</c:v>
                </c:pt>
                <c:pt idx="34">
                  <c:v>0.18720590449413627</c:v>
                </c:pt>
                <c:pt idx="35">
                  <c:v>0.17069308068836153</c:v>
                </c:pt>
                <c:pt idx="36">
                  <c:v>0.15978645597803845</c:v>
                </c:pt>
                <c:pt idx="37">
                  <c:v>0.16416919317105721</c:v>
                </c:pt>
                <c:pt idx="38">
                  <c:v>0.16736097802095576</c:v>
                </c:pt>
                <c:pt idx="39">
                  <c:v>0.17982253387561267</c:v>
                </c:pt>
                <c:pt idx="40">
                  <c:v>0.21058464232536953</c:v>
                </c:pt>
                <c:pt idx="41">
                  <c:v>0.21018417276139698</c:v>
                </c:pt>
                <c:pt idx="42">
                  <c:v>0.21028208044049562</c:v>
                </c:pt>
                <c:pt idx="43">
                  <c:v>0.18756187730291554</c:v>
                </c:pt>
                <c:pt idx="44">
                  <c:v>0.15636829670577929</c:v>
                </c:pt>
                <c:pt idx="45">
                  <c:v>0.15593558945974992</c:v>
                </c:pt>
                <c:pt idx="46">
                  <c:v>0.1577948391873237</c:v>
                </c:pt>
                <c:pt idx="47">
                  <c:v>0.1609560485917467</c:v>
                </c:pt>
                <c:pt idx="48">
                  <c:v>0.12578492781235034</c:v>
                </c:pt>
                <c:pt idx="49">
                  <c:v>0.13782634048900488</c:v>
                </c:pt>
                <c:pt idx="50">
                  <c:v>0.1583189029938065</c:v>
                </c:pt>
                <c:pt idx="51">
                  <c:v>0.1574592815229677</c:v>
                </c:pt>
                <c:pt idx="52">
                  <c:v>0.18560727233065222</c:v>
                </c:pt>
                <c:pt idx="53">
                  <c:v>0.20226454277731523</c:v>
                </c:pt>
                <c:pt idx="54">
                  <c:v>0.185607272330652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59</c:f>
              <c:numCache>
                <c:formatCode>General</c:formatCode>
                <c:ptCount val="58"/>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121</c:v>
                </c:pt>
                <c:pt idx="57">
                  <c:v>1.0712</c:v>
                </c:pt>
              </c:numCache>
            </c:numRef>
          </c:xVal>
          <c:yVal>
            <c:numRef>
              <c:f>Sheet1!$B$2:$B$59</c:f>
              <c:numCache>
                <c:formatCode>General</c:formatCode>
                <c:ptCount val="58"/>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4181271980011023</c:v>
                </c:pt>
                <c:pt idx="57">
                  <c:v>0.17979418217885906</c:v>
                </c:pt>
              </c:numCache>
            </c:numRef>
          </c:yVal>
          <c:smooth val="0"/>
          <c:extLst>
            <c:ext xmlns:c16="http://schemas.microsoft.com/office/drawing/2014/chart" uri="{C3380CC4-5D6E-409C-BE32-E72D297353CC}">
              <c16:uniqueId val="{00000000-F32D-48B7-BC20-E66FC6253BAD}"/>
            </c:ext>
          </c:extLst>
        </c:ser>
        <c:ser>
          <c:idx val="1"/>
          <c:order val="1"/>
          <c:tx>
            <c:strRef>
              <c:f>Sheet1!$B$61</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2:$A$113</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2:$B$113</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0.8045178679917434</c:v>
                </c:pt>
              </c:numCache>
            </c:numRef>
          </c:xVal>
          <c:yVal>
            <c:numRef>
              <c:f>Sheet1!$B$116:$B$117</c:f>
              <c:numCache>
                <c:formatCode>General</c:formatCode>
                <c:ptCount val="2"/>
                <c:pt idx="0">
                  <c:v>0.20226454277731523</c:v>
                </c:pt>
                <c:pt idx="1">
                  <c:v>0.20226454277731523</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0.8045178679917434</c:v>
                </c:pt>
                <c:pt idx="1">
                  <c:v>0.8045178679917434</c:v>
                </c:pt>
              </c:numCache>
            </c:numRef>
          </c:xVal>
          <c:yVal>
            <c:numRef>
              <c:f>Sheet1!$B$120:$B$121</c:f>
              <c:numCache>
                <c:formatCode>General</c:formatCode>
                <c:ptCount val="2"/>
                <c:pt idx="0">
                  <c:v>0.2022645427773152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0.855884518602519</c:v>
                </c:pt>
              </c:numCache>
            </c:numRef>
          </c:xVal>
          <c:yVal>
            <c:numRef>
              <c:f>Sheet1!$B$124:$B$125</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0.855884518602519</c:v>
                </c:pt>
                <c:pt idx="1">
                  <c:v>0.855884518602519</c:v>
                </c:pt>
              </c:numCache>
            </c:numRef>
          </c:xVal>
          <c:yVal>
            <c:numRef>
              <c:f>Sheet1!$B$128:$B$129</c:f>
              <c:numCache>
                <c:formatCode>General</c:formatCode>
                <c:ptCount val="2"/>
                <c:pt idx="0">
                  <c:v>0.185607272330652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0.855884518602519</c:v>
                </c:pt>
              </c:numCache>
            </c:numRef>
          </c:xVal>
          <c:yVal>
            <c:numRef>
              <c:f>Sheet1!$B$132:$B$133</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0.855884518602519</c:v>
                </c:pt>
                <c:pt idx="1">
                  <c:v>0.855884518602519</c:v>
                </c:pt>
              </c:numCache>
            </c:numRef>
          </c:xVal>
          <c:yVal>
            <c:numRef>
              <c:f>Sheet1!$B$136:$B$137</c:f>
              <c:numCache>
                <c:formatCode>General</c:formatCode>
                <c:ptCount val="2"/>
                <c:pt idx="0">
                  <c:v>0.185607272330652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94</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5884518602519</c:v>
                </c:pt>
                <c:pt idx="53">
                  <c:v>0.8045178679917434</c:v>
                </c:pt>
                <c:pt idx="54">
                  <c:v>0.855884518602519</c:v>
                </c:pt>
              </c:numCache>
            </c:numRef>
          </c:xVal>
          <c:yVal>
            <c:numRef>
              <c:f>Sheet1!$B$140:$B$194</c:f>
              <c:numCache>
                <c:formatCode>General</c:formatCode>
                <c:ptCount val="55"/>
                <c:pt idx="0">
                  <c:v>0.13501428959568318</c:v>
                </c:pt>
                <c:pt idx="1">
                  <c:v>0.15696816814976816</c:v>
                </c:pt>
                <c:pt idx="2">
                  <c:v>0.15576832545183444</c:v>
                </c:pt>
                <c:pt idx="3">
                  <c:v>0.13955423493921626</c:v>
                </c:pt>
                <c:pt idx="4">
                  <c:v>0.1329064578290428</c:v>
                </c:pt>
                <c:pt idx="5">
                  <c:v>0.13394415962185036</c:v>
                </c:pt>
                <c:pt idx="6">
                  <c:v>0.1413702130766295</c:v>
                </c:pt>
                <c:pt idx="7">
                  <c:v>0.14681814748886918</c:v>
                </c:pt>
                <c:pt idx="8">
                  <c:v>0.1679613215173233</c:v>
                </c:pt>
                <c:pt idx="9">
                  <c:v>0.19477942722519376</c:v>
                </c:pt>
                <c:pt idx="10">
                  <c:v>0.19503885267339566</c:v>
                </c:pt>
                <c:pt idx="11">
                  <c:v>0.19597926992312747</c:v>
                </c:pt>
                <c:pt idx="12">
                  <c:v>0.19575227265595085</c:v>
                </c:pt>
                <c:pt idx="13">
                  <c:v>0.1764575049459352</c:v>
                </c:pt>
                <c:pt idx="14">
                  <c:v>0.14010551401664528</c:v>
                </c:pt>
                <c:pt idx="15">
                  <c:v>0.13404144416492608</c:v>
                </c:pt>
                <c:pt idx="16">
                  <c:v>0.13345773690647184</c:v>
                </c:pt>
                <c:pt idx="17">
                  <c:v>0.1456831611529859</c:v>
                </c:pt>
                <c:pt idx="18">
                  <c:v>0.16990701237883749</c:v>
                </c:pt>
                <c:pt idx="19">
                  <c:v>0.16296738163943691</c:v>
                </c:pt>
                <c:pt idx="20">
                  <c:v>0.1515202337375285</c:v>
                </c:pt>
                <c:pt idx="21">
                  <c:v>0.1355007123110617</c:v>
                </c:pt>
                <c:pt idx="22">
                  <c:v>0.13507914595773363</c:v>
                </c:pt>
                <c:pt idx="23">
                  <c:v>0.13443058233722888</c:v>
                </c:pt>
                <c:pt idx="24">
                  <c:v>0.13462515142338038</c:v>
                </c:pt>
                <c:pt idx="25">
                  <c:v>0.1346575796044056</c:v>
                </c:pt>
                <c:pt idx="26">
                  <c:v>0.13507914595773363</c:v>
                </c:pt>
                <c:pt idx="27">
                  <c:v>0.1356952813972131</c:v>
                </c:pt>
                <c:pt idx="28">
                  <c:v>0.14954211469498907</c:v>
                </c:pt>
                <c:pt idx="29">
                  <c:v>0.15764915995129813</c:v>
                </c:pt>
                <c:pt idx="30">
                  <c:v>0.18213243662535156</c:v>
                </c:pt>
                <c:pt idx="31">
                  <c:v>0.19513613721647133</c:v>
                </c:pt>
                <c:pt idx="32">
                  <c:v>0.19134204003651872</c:v>
                </c:pt>
                <c:pt idx="33">
                  <c:v>0.19221760092420004</c:v>
                </c:pt>
                <c:pt idx="34">
                  <c:v>0.19319044635495713</c:v>
                </c:pt>
                <c:pt idx="35">
                  <c:v>0.16179996712252837</c:v>
                </c:pt>
                <c:pt idx="36">
                  <c:v>0.14120807217150327</c:v>
                </c:pt>
                <c:pt idx="37">
                  <c:v>0.14960697105703952</c:v>
                </c:pt>
                <c:pt idx="38">
                  <c:v>0.15550890000363254</c:v>
                </c:pt>
                <c:pt idx="39">
                  <c:v>0.17914904397102982</c:v>
                </c:pt>
                <c:pt idx="40">
                  <c:v>0.23719548800620288</c:v>
                </c:pt>
                <c:pt idx="41">
                  <c:v>0.2364496398426224</c:v>
                </c:pt>
                <c:pt idx="42">
                  <c:v>0.23690363437697576</c:v>
                </c:pt>
                <c:pt idx="43">
                  <c:v>0.19396872269956283</c:v>
                </c:pt>
                <c:pt idx="44">
                  <c:v>0.13488457687158223</c:v>
                </c:pt>
                <c:pt idx="45">
                  <c:v>0.1352412868628598</c:v>
                </c:pt>
                <c:pt idx="46">
                  <c:v>0.13770582862077774</c:v>
                </c:pt>
                <c:pt idx="47">
                  <c:v>0.14354290120532032</c:v>
                </c:pt>
                <c:pt idx="48">
                  <c:v>0.1445157466360774</c:v>
                </c:pt>
                <c:pt idx="49">
                  <c:v>0.17256612322290682</c:v>
                </c:pt>
                <c:pt idx="50">
                  <c:v>0.20363232064508324</c:v>
                </c:pt>
                <c:pt idx="51">
                  <c:v>0.2023351934040738</c:v>
                </c:pt>
                <c:pt idx="52">
                  <c:v>0.18560727233065222</c:v>
                </c:pt>
                <c:pt idx="53">
                  <c:v>0.2022645427773152</c:v>
                </c:pt>
                <c:pt idx="54">
                  <c:v>0.185607272330652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33474833232262</c:v>
                </c:pt>
                <c:pt idx="1">
                  <c:v>1.5884691848906562</c:v>
                </c:pt>
                <c:pt idx="2">
                  <c:v>1.547746719908728</c:v>
                </c:pt>
                <c:pt idx="3">
                  <c:v>1.5309358945722582</c:v>
                </c:pt>
                <c:pt idx="4">
                  <c:v>1.5046974000436968</c:v>
                </c:pt>
                <c:pt idx="5">
                  <c:v>1.531075304176258</c:v>
                </c:pt>
                <c:pt idx="6">
                  <c:v>1.4953941730934017</c:v>
                </c:pt>
                <c:pt idx="7">
                  <c:v>1.4698383084577114</c:v>
                </c:pt>
                <c:pt idx="8">
                  <c:v>1.4549294323683941</c:v>
                </c:pt>
                <c:pt idx="9">
                  <c:v>1.49197235513025</c:v>
                </c:pt>
                <c:pt idx="10">
                  <c:v>1.5136543673129037</c:v>
                </c:pt>
                <c:pt idx="11">
                  <c:v>1.403094701792185</c:v>
                </c:pt>
                <c:pt idx="12">
                  <c:v>1.4982184028505554</c:v>
                </c:pt>
                <c:pt idx="13">
                  <c:v>1.4724014336917561</c:v>
                </c:pt>
                <c:pt idx="14">
                  <c:v>1.4320393218978833</c:v>
                </c:pt>
                <c:pt idx="15">
                  <c:v>1.4122535755701586</c:v>
                </c:pt>
                <c:pt idx="16">
                  <c:v>1.4305541587046164</c:v>
                </c:pt>
                <c:pt idx="17">
                  <c:v>1.4652218782249742</c:v>
                </c:pt>
                <c:pt idx="18">
                  <c:v>1.4012631994473501</c:v>
                </c:pt>
                <c:pt idx="19">
                  <c:v>1.4272225012556503</c:v>
                </c:pt>
                <c:pt idx="20">
                  <c:v>1.4629028988445165</c:v>
                </c:pt>
                <c:pt idx="21">
                  <c:v>1.464739647396474</c:v>
                </c:pt>
                <c:pt idx="22">
                  <c:v>1.4631611442683679</c:v>
                </c:pt>
                <c:pt idx="23">
                  <c:v>1.4487859620485615</c:v>
                </c:pt>
                <c:pt idx="24">
                  <c:v>1.4628717948717949</c:v>
                </c:pt>
                <c:pt idx="25">
                  <c:v>1.5034534055892042</c:v>
                </c:pt>
                <c:pt idx="26">
                  <c:v>1.5210011816521647</c:v>
                </c:pt>
                <c:pt idx="27">
                  <c:v>1.5496150092180891</c:v>
                </c:pt>
                <c:pt idx="28">
                  <c:v>1.5264804003336112</c:v>
                </c:pt>
                <c:pt idx="29">
                  <c:v>1.4947638603696098</c:v>
                </c:pt>
                <c:pt idx="30">
                  <c:v>1.512884978001257</c:v>
                </c:pt>
                <c:pt idx="31">
                  <c:v>1.4338515391743025</c:v>
                </c:pt>
                <c:pt idx="32">
                  <c:v>1.343916943856466</c:v>
                </c:pt>
                <c:pt idx="33">
                  <c:v>1.3562218583708554</c:v>
                </c:pt>
                <c:pt idx="34">
                  <c:v>1.402756191068283</c:v>
                </c:pt>
                <c:pt idx="35">
                  <c:v>1.4012132622110658</c:v>
                </c:pt>
                <c:pt idx="36">
                  <c:v>1.3678113363673976</c:v>
                </c:pt>
                <c:pt idx="37">
                  <c:v>1.3397031917056312</c:v>
                </c:pt>
                <c:pt idx="38">
                  <c:v>1.315076737887451</c:v>
                </c:pt>
                <c:pt idx="39">
                  <c:v>1.337141691318984</c:v>
                </c:pt>
                <c:pt idx="40">
                  <c:v>1.3694083694083694</c:v>
                </c:pt>
                <c:pt idx="41">
                  <c:v>1.4039362699156515</c:v>
                </c:pt>
                <c:pt idx="42">
                  <c:v>1.4559718219660585</c:v>
                </c:pt>
                <c:pt idx="43">
                  <c:v>1.4727843307001407</c:v>
                </c:pt>
                <c:pt idx="44">
                  <c:v>1.5198180636777128</c:v>
                </c:pt>
                <c:pt idx="45">
                  <c:v>1.606070460704607</c:v>
                </c:pt>
                <c:pt idx="46">
                  <c:v>1.6530416221985058</c:v>
                </c:pt>
                <c:pt idx="47">
                  <c:v>1.6648303217276332</c:v>
                </c:pt>
                <c:pt idx="48">
                  <c:v>1.6887019230769231</c:v>
                </c:pt>
                <c:pt idx="49">
                  <c:v>1.679450860753977</c:v>
                </c:pt>
                <c:pt idx="50">
                  <c:v>1.7238569009314142</c:v>
                </c:pt>
                <c:pt idx="51">
                  <c:v>1.7672126781195898</c:v>
                </c:pt>
                <c:pt idx="52">
                  <c:v>1.3946992191795886</c:v>
                </c:pt>
                <c:pt idx="53">
                  <c:v>1.4659929601453388</c:v>
                </c:pt>
                <c:pt idx="54">
                  <c:v>1.3824613117170228</c:v>
                </c:pt>
                <c:pt idx="55">
                  <c:v>1.4169847328244274</c:v>
                </c:pt>
                <c:pt idx="56">
                  <c:v>1.430922799192949</c:v>
                </c:pt>
                <c:pt idx="57">
                  <c:v>1.4080531340805313</c:v>
                </c:pt>
                <c:pt idx="58">
                  <c:v>1.3989547038327526</c:v>
                </c:pt>
                <c:pt idx="59">
                  <c:v>1.4085228436795738</c:v>
                </c:pt>
                <c:pt idx="60">
                  <c:v>1.4172363787031284</c:v>
                </c:pt>
                <c:pt idx="61">
                  <c:v>1.4161879895561358</c:v>
                </c:pt>
                <c:pt idx="62">
                  <c:v>1.4178359837854695</c:v>
                </c:pt>
                <c:pt idx="63">
                  <c:v>1.4158746736292427</c:v>
                </c:pt>
                <c:pt idx="64">
                  <c:v>1.384623333677793</c:v>
                </c:pt>
              </c:numCache>
            </c:numRef>
          </c:xVal>
          <c:yVal>
            <c:numRef>
              <c:f>Sheet1!$B$2:$B$66</c:f>
              <c:numCache>
                <c:formatCode>General</c:formatCode>
                <c:ptCount val="65"/>
                <c:pt idx="0">
                  <c:v>0.10027576482155062</c:v>
                </c:pt>
                <c:pt idx="1">
                  <c:v>0.09587794111470221</c:v>
                </c:pt>
                <c:pt idx="2">
                  <c:v>0.09403445201778887</c:v>
                </c:pt>
                <c:pt idx="3">
                  <c:v>0.08944292797016468</c:v>
                </c:pt>
                <c:pt idx="4">
                  <c:v>0.08632999247436718</c:v>
                </c:pt>
                <c:pt idx="5">
                  <c:v>0.08621596037393205</c:v>
                </c:pt>
                <c:pt idx="6">
                  <c:v>0.08799546416854562</c:v>
                </c:pt>
                <c:pt idx="7">
                  <c:v>0.09108992107151735</c:v>
                </c:pt>
                <c:pt idx="8">
                  <c:v>0.0890628319839582</c:v>
                </c:pt>
                <c:pt idx="9">
                  <c:v>0.0852679873479559</c:v>
                </c:pt>
                <c:pt idx="10">
                  <c:v>0.08513065488494756</c:v>
                </c:pt>
                <c:pt idx="11">
                  <c:v>0.08857005556111669</c:v>
                </c:pt>
                <c:pt idx="12">
                  <c:v>0.08401352539044545</c:v>
                </c:pt>
                <c:pt idx="13">
                  <c:v>0.08429476452810784</c:v>
                </c:pt>
                <c:pt idx="14">
                  <c:v>0.08370026825140739</c:v>
                </c:pt>
                <c:pt idx="15">
                  <c:v>0.08943144265046392</c:v>
                </c:pt>
                <c:pt idx="16">
                  <c:v>0.08376165522778144</c:v>
                </c:pt>
                <c:pt idx="17">
                  <c:v>0.08215995817592454</c:v>
                </c:pt>
                <c:pt idx="18">
                  <c:v>0.08130026473645798</c:v>
                </c:pt>
                <c:pt idx="19">
                  <c:v>0.08219319502068645</c:v>
                </c:pt>
                <c:pt idx="20">
                  <c:v>0.08565914766385839</c:v>
                </c:pt>
                <c:pt idx="21">
                  <c:v>0.08533471400162386</c:v>
                </c:pt>
                <c:pt idx="22">
                  <c:v>0.08545897646923896</c:v>
                </c:pt>
                <c:pt idx="23">
                  <c:v>0.08431330247999297</c:v>
                </c:pt>
                <c:pt idx="24">
                  <c:v>0.08372658658505225</c:v>
                </c:pt>
                <c:pt idx="25">
                  <c:v>0.08459970422615129</c:v>
                </c:pt>
                <c:pt idx="26">
                  <c:v>0.08425645566093333</c:v>
                </c:pt>
                <c:pt idx="27">
                  <c:v>0.08606448750650303</c:v>
                </c:pt>
                <c:pt idx="28">
                  <c:v>0.09016470026420559</c:v>
                </c:pt>
                <c:pt idx="29">
                  <c:v>0.08548771543821049</c:v>
                </c:pt>
                <c:pt idx="30">
                  <c:v>0.08446780378135388</c:v>
                </c:pt>
                <c:pt idx="31">
                  <c:v>0.08599716039247671</c:v>
                </c:pt>
                <c:pt idx="32">
                  <c:v>0.09115324977269539</c:v>
                </c:pt>
                <c:pt idx="33">
                  <c:v>0.09260373078690139</c:v>
                </c:pt>
                <c:pt idx="34">
                  <c:v>0.09206774734147798</c:v>
                </c:pt>
                <c:pt idx="35">
                  <c:v>0.09304344601402048</c:v>
                </c:pt>
                <c:pt idx="36">
                  <c:v>0.09331479748443439</c:v>
                </c:pt>
                <c:pt idx="37">
                  <c:v>0.0921504998190244</c:v>
                </c:pt>
                <c:pt idx="38">
                  <c:v>0.09220347037614662</c:v>
                </c:pt>
                <c:pt idx="39">
                  <c:v>0.09144146668558581</c:v>
                </c:pt>
                <c:pt idx="40">
                  <c:v>0.09543271405657022</c:v>
                </c:pt>
                <c:pt idx="41">
                  <c:v>0.09471544023789807</c:v>
                </c:pt>
                <c:pt idx="42">
                  <c:v>0.09226932182176949</c:v>
                </c:pt>
                <c:pt idx="43">
                  <c:v>0.09258480505069804</c:v>
                </c:pt>
                <c:pt idx="44">
                  <c:v>0.08930206983858634</c:v>
                </c:pt>
                <c:pt idx="45">
                  <c:v>0.08676689133209042</c:v>
                </c:pt>
                <c:pt idx="46">
                  <c:v>0.08868976154585294</c:v>
                </c:pt>
                <c:pt idx="47">
                  <c:v>0.08932312390040653</c:v>
                </c:pt>
                <c:pt idx="48">
                  <c:v>0.09291086245004465</c:v>
                </c:pt>
                <c:pt idx="49">
                  <c:v>0.09560819468448303</c:v>
                </c:pt>
                <c:pt idx="50">
                  <c:v>0.09992515838424608</c:v>
                </c:pt>
                <c:pt idx="51">
                  <c:v>0.11626201455329954</c:v>
                </c:pt>
                <c:pt idx="52">
                  <c:v>0.08169445891033288</c:v>
                </c:pt>
                <c:pt idx="53">
                  <c:v>0.07983651066905703</c:v>
                </c:pt>
                <c:pt idx="54">
                  <c:v>0.08373992792447034</c:v>
                </c:pt>
                <c:pt idx="55">
                  <c:v>0.08489664249527219</c:v>
                </c:pt>
                <c:pt idx="56">
                  <c:v>0.08573177715536379</c:v>
                </c:pt>
                <c:pt idx="57">
                  <c:v>0.08609309069414939</c:v>
                </c:pt>
                <c:pt idx="58">
                  <c:v>0.08510035921763538</c:v>
                </c:pt>
                <c:pt idx="59">
                  <c:v>0.0943283093800092</c:v>
                </c:pt>
                <c:pt idx="60">
                  <c:v>0.08705427795513947</c:v>
                </c:pt>
                <c:pt idx="61">
                  <c:v>0.08525136556845296</c:v>
                </c:pt>
                <c:pt idx="62">
                  <c:v>0.0841683038942162</c:v>
                </c:pt>
                <c:pt idx="63">
                  <c:v>0.09205274215361309</c:v>
                </c:pt>
                <c:pt idx="64">
                  <c:v>0.08890353222153351</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93142028384958</c:v>
                </c:pt>
                <c:pt idx="1">
                  <c:v>1.3565411549781794</c:v>
                </c:pt>
                <c:pt idx="2">
                  <c:v>1.3602010050251256</c:v>
                </c:pt>
                <c:pt idx="3">
                  <c:v>1.3196689002759165</c:v>
                </c:pt>
                <c:pt idx="4">
                  <c:v>1.352619313000304</c:v>
                </c:pt>
                <c:pt idx="5">
                  <c:v>1.3848484848484848</c:v>
                </c:pt>
                <c:pt idx="6">
                  <c:v>1.3818427339773554</c:v>
                </c:pt>
                <c:pt idx="7">
                  <c:v>1.3805847230800905</c:v>
                </c:pt>
                <c:pt idx="8">
                  <c:v>1.3655638635665266</c:v>
                </c:pt>
                <c:pt idx="9">
                  <c:v>1.3480028458176645</c:v>
                </c:pt>
                <c:pt idx="10">
                  <c:v>1.374552887072049</c:v>
                </c:pt>
                <c:pt idx="11">
                  <c:v>1.3603090687271249</c:v>
                </c:pt>
                <c:pt idx="12">
                  <c:v>1.3461577198106556</c:v>
                </c:pt>
                <c:pt idx="13">
                  <c:v>1.3463238248292486</c:v>
                </c:pt>
                <c:pt idx="14">
                  <c:v>1.3653591441670911</c:v>
                </c:pt>
                <c:pt idx="15">
                  <c:v>1.3544202753941328</c:v>
                </c:pt>
                <c:pt idx="16">
                  <c:v>1.3787073021067704</c:v>
                </c:pt>
                <c:pt idx="17">
                  <c:v>1.3835616438356164</c:v>
                </c:pt>
                <c:pt idx="18">
                  <c:v>1.381158971180663</c:v>
                </c:pt>
                <c:pt idx="19">
                  <c:v>1.3744724652599072</c:v>
                </c:pt>
                <c:pt idx="20">
                  <c:v>1.3836633663366336</c:v>
                </c:pt>
                <c:pt idx="21">
                  <c:v>1.3764329236806774</c:v>
                </c:pt>
                <c:pt idx="22">
                  <c:v>1.394623543001155</c:v>
                </c:pt>
                <c:pt idx="23">
                  <c:v>1.3803329864724245</c:v>
                </c:pt>
                <c:pt idx="24">
                  <c:v>1.3725813091807326</c:v>
                </c:pt>
                <c:pt idx="25">
                  <c:v>1.346310640032613</c:v>
                </c:pt>
                <c:pt idx="26">
                  <c:v>1.362576117246362</c:v>
                </c:pt>
                <c:pt idx="27">
                  <c:v>1.3628192032686415</c:v>
                </c:pt>
                <c:pt idx="28">
                  <c:v>1.3745291662424923</c:v>
                </c:pt>
                <c:pt idx="29">
                  <c:v>1.3937898416615258</c:v>
                </c:pt>
                <c:pt idx="30">
                  <c:v>1.4105186267348429</c:v>
                </c:pt>
                <c:pt idx="31">
                  <c:v>1.4190901537183216</c:v>
                </c:pt>
                <c:pt idx="32">
                  <c:v>1.4252861602497398</c:v>
                </c:pt>
                <c:pt idx="33">
                  <c:v>1.4314562298324138</c:v>
                </c:pt>
                <c:pt idx="34">
                  <c:v>1.4679106007791674</c:v>
                </c:pt>
                <c:pt idx="35">
                  <c:v>1.484487887802805</c:v>
                </c:pt>
                <c:pt idx="36">
                  <c:v>1.5214535438076067</c:v>
                </c:pt>
                <c:pt idx="37">
                  <c:v>1.5762004175365345</c:v>
                </c:pt>
                <c:pt idx="38">
                  <c:v>1.7422356343518168</c:v>
                </c:pt>
                <c:pt idx="39">
                  <c:v>1.3734204326408224</c:v>
                </c:pt>
                <c:pt idx="40">
                  <c:v>1.304863097670617</c:v>
                </c:pt>
                <c:pt idx="41">
                  <c:v>1.2652556621501334</c:v>
                </c:pt>
                <c:pt idx="42">
                  <c:v>1.2102187028657618</c:v>
                </c:pt>
                <c:pt idx="43">
                  <c:v>1.2405319456490316</c:v>
                </c:pt>
                <c:pt idx="44">
                  <c:v>1.2463978338651966</c:v>
                </c:pt>
                <c:pt idx="45">
                  <c:v>1.2050120214536713</c:v>
                </c:pt>
                <c:pt idx="46">
                  <c:v>1.21810021068059</c:v>
                </c:pt>
                <c:pt idx="47">
                  <c:v>1.210425937698665</c:v>
                </c:pt>
                <c:pt idx="48">
                  <c:v>1.2600448514296394</c:v>
                </c:pt>
                <c:pt idx="49">
                  <c:v>1.2641562064156207</c:v>
                </c:pt>
                <c:pt idx="50">
                  <c:v>1.2645346150291155</c:v>
                </c:pt>
                <c:pt idx="51">
                  <c:v>1.2586800707437402</c:v>
                </c:pt>
              </c:numCache>
            </c:numRef>
          </c:xVal>
          <c:yVal>
            <c:numRef>
              <c:f>Sheet1!$B$69:$B$120</c:f>
              <c:numCache>
                <c:formatCode>General</c:formatCode>
                <c:ptCount val="52"/>
                <c:pt idx="0">
                  <c:v>0.08476425356991016</c:v>
                </c:pt>
                <c:pt idx="1">
                  <c:v>0.08429395839400615</c:v>
                </c:pt>
                <c:pt idx="2">
                  <c:v>0.09063217815928287</c:v>
                </c:pt>
                <c:pt idx="3">
                  <c:v>0.08486547896921576</c:v>
                </c:pt>
                <c:pt idx="4">
                  <c:v>0.08408530043483112</c:v>
                </c:pt>
                <c:pt idx="5">
                  <c:v>0.08411199956066857</c:v>
                </c:pt>
                <c:pt idx="6">
                  <c:v>0.08330952095642796</c:v>
                </c:pt>
                <c:pt idx="7">
                  <c:v>0.08802620674076993</c:v>
                </c:pt>
                <c:pt idx="8">
                  <c:v>0.08300284004003931</c:v>
                </c:pt>
                <c:pt idx="9">
                  <c:v>0.08310009161646734</c:v>
                </c:pt>
                <c:pt idx="10">
                  <c:v>0.08156798850781312</c:v>
                </c:pt>
                <c:pt idx="11">
                  <c:v>0.08187899043009883</c:v>
                </c:pt>
                <c:pt idx="12">
                  <c:v>0.08248017125861079</c:v>
                </c:pt>
                <c:pt idx="13">
                  <c:v>0.08096813901759417</c:v>
                </c:pt>
                <c:pt idx="14">
                  <c:v>0.08194072865966884</c:v>
                </c:pt>
                <c:pt idx="15">
                  <c:v>0.08222183058658913</c:v>
                </c:pt>
                <c:pt idx="16">
                  <c:v>0.08208785138706388</c:v>
                </c:pt>
                <c:pt idx="17">
                  <c:v>0.08191211598399832</c:v>
                </c:pt>
                <c:pt idx="18">
                  <c:v>0.08059654127491785</c:v>
                </c:pt>
                <c:pt idx="19">
                  <c:v>0.08034853858912895</c:v>
                </c:pt>
                <c:pt idx="20">
                  <c:v>0.07992131709292435</c:v>
                </c:pt>
                <c:pt idx="21">
                  <c:v>0.0810420276221308</c:v>
                </c:pt>
                <c:pt idx="22">
                  <c:v>0.08046108158853829</c:v>
                </c:pt>
                <c:pt idx="23">
                  <c:v>0.08109652951324961</c:v>
                </c:pt>
                <c:pt idx="24">
                  <c:v>0.08057843711028335</c:v>
                </c:pt>
                <c:pt idx="25">
                  <c:v>0.08227533222623098</c:v>
                </c:pt>
                <c:pt idx="26">
                  <c:v>0.08304383763583265</c:v>
                </c:pt>
                <c:pt idx="27">
                  <c:v>0.08311593112378501</c:v>
                </c:pt>
                <c:pt idx="28">
                  <c:v>0.08695108916960986</c:v>
                </c:pt>
                <c:pt idx="29">
                  <c:v>0.08651028890861934</c:v>
                </c:pt>
                <c:pt idx="30">
                  <c:v>0.08602420218952286</c:v>
                </c:pt>
                <c:pt idx="31">
                  <c:v>0.08727933904147686</c:v>
                </c:pt>
                <c:pt idx="32">
                  <c:v>0.08893159955472096</c:v>
                </c:pt>
                <c:pt idx="33">
                  <c:v>0.09036183583394185</c:v>
                </c:pt>
                <c:pt idx="34">
                  <c:v>0.0960388781514827</c:v>
                </c:pt>
                <c:pt idx="35">
                  <c:v>0.10054366229320408</c:v>
                </c:pt>
                <c:pt idx="36">
                  <c:v>0.10192594749830171</c:v>
                </c:pt>
                <c:pt idx="37">
                  <c:v>0.10524405278264459</c:v>
                </c:pt>
                <c:pt idx="38">
                  <c:v>0.13365455994522069</c:v>
                </c:pt>
                <c:pt idx="39">
                  <c:v>0.08392080426754206</c:v>
                </c:pt>
                <c:pt idx="40">
                  <c:v>0.08376732331944443</c:v>
                </c:pt>
                <c:pt idx="41">
                  <c:v>0.08190654053119302</c:v>
                </c:pt>
                <c:pt idx="42">
                  <c:v>0.07914378911901074</c:v>
                </c:pt>
                <c:pt idx="43">
                  <c:v>0.07926770092196359</c:v>
                </c:pt>
                <c:pt idx="44">
                  <c:v>0.0798635512501933</c:v>
                </c:pt>
                <c:pt idx="45">
                  <c:v>0.08038982295832128</c:v>
                </c:pt>
                <c:pt idx="46">
                  <c:v>0.08558121551064113</c:v>
                </c:pt>
                <c:pt idx="47">
                  <c:v>0.08443918057595252</c:v>
                </c:pt>
                <c:pt idx="48">
                  <c:v>0.08109669761926493</c:v>
                </c:pt>
                <c:pt idx="49">
                  <c:v>0.07981208131963079</c:v>
                </c:pt>
                <c:pt idx="50">
                  <c:v>0.08307016584054636</c:v>
                </c:pt>
                <c:pt idx="51">
                  <c:v>0.08684537437644066</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4820831949164424</c:v>
                </c:pt>
              </c:numCache>
            </c:numRef>
          </c:xVal>
          <c:yVal>
            <c:numRef>
              <c:f>Sheet1!$B$123:$B$124</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4820831949164424</c:v>
                </c:pt>
                <c:pt idx="1">
                  <c:v>1.4820831949164424</c:v>
                </c:pt>
              </c:numCache>
            </c:numRef>
          </c:xVal>
          <c:yVal>
            <c:numRef>
              <c:f>Sheet1!$B$127:$B$128</c:f>
              <c:numCache>
                <c:formatCode>General</c:formatCode>
                <c:ptCount val="2"/>
                <c:pt idx="0">
                  <c:v>0.09458655570218179</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4820831949164424</c:v>
                </c:pt>
              </c:numCache>
            </c:numRef>
          </c:xVal>
          <c:yVal>
            <c:numRef>
              <c:f>Sheet1!$B$131:$B$132</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4820831949164424</c:v>
                </c:pt>
                <c:pt idx="1">
                  <c:v>1.4820831949164424</c:v>
                </c:pt>
              </c:numCache>
            </c:numRef>
          </c:xVal>
          <c:yVal>
            <c:numRef>
              <c:f>Sheet1!$B$135:$B$136</c:f>
              <c:numCache>
                <c:formatCode>General</c:formatCode>
                <c:ptCount val="2"/>
                <c:pt idx="0">
                  <c:v>0.094586555702181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182465810064068</c:v>
                </c:pt>
              </c:numCache>
            </c:numRef>
          </c:xVal>
          <c:yVal>
            <c:numRef>
              <c:f>Sheet1!$B$139:$B$140</c:f>
              <c:numCache>
                <c:formatCode>General</c:formatCode>
                <c:ptCount val="2"/>
                <c:pt idx="0">
                  <c:v>0.08223878827770345</c:v>
                </c:pt>
                <c:pt idx="1">
                  <c:v>0.0822387882777034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182465810064068</c:v>
                </c:pt>
                <c:pt idx="1">
                  <c:v>1.3182465810064068</c:v>
                </c:pt>
              </c:numCache>
            </c:numRef>
          </c:xVal>
          <c:yVal>
            <c:numRef>
              <c:f>Sheet1!$B$143:$B$144</c:f>
              <c:numCache>
                <c:formatCode>General</c:formatCode>
                <c:ptCount val="2"/>
                <c:pt idx="0">
                  <c:v>0.082238788277703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93142028384958</c:v>
                </c:pt>
                <c:pt idx="1">
                  <c:v>1.3565411549781794</c:v>
                </c:pt>
                <c:pt idx="2">
                  <c:v>1.3602010050251256</c:v>
                </c:pt>
                <c:pt idx="3">
                  <c:v>1.3196689002759165</c:v>
                </c:pt>
                <c:pt idx="4">
                  <c:v>1.352619313000304</c:v>
                </c:pt>
                <c:pt idx="5">
                  <c:v>1.3848484848484848</c:v>
                </c:pt>
                <c:pt idx="6">
                  <c:v>1.3818427339773554</c:v>
                </c:pt>
                <c:pt idx="7">
                  <c:v>1.3805847230800905</c:v>
                </c:pt>
                <c:pt idx="8">
                  <c:v>1.3655638635665266</c:v>
                </c:pt>
                <c:pt idx="9">
                  <c:v>1.3480028458176645</c:v>
                </c:pt>
                <c:pt idx="10">
                  <c:v>1.374552887072049</c:v>
                </c:pt>
                <c:pt idx="11">
                  <c:v>1.3603090687271249</c:v>
                </c:pt>
                <c:pt idx="12">
                  <c:v>1.3461577198106556</c:v>
                </c:pt>
                <c:pt idx="13">
                  <c:v>1.3463238248292486</c:v>
                </c:pt>
                <c:pt idx="14">
                  <c:v>1.3653591441670911</c:v>
                </c:pt>
                <c:pt idx="15">
                  <c:v>1.3544202753941328</c:v>
                </c:pt>
                <c:pt idx="16">
                  <c:v>1.3787073021067704</c:v>
                </c:pt>
                <c:pt idx="17">
                  <c:v>1.3835616438356164</c:v>
                </c:pt>
                <c:pt idx="18">
                  <c:v>1.381158971180663</c:v>
                </c:pt>
                <c:pt idx="19">
                  <c:v>1.3744724652599072</c:v>
                </c:pt>
                <c:pt idx="20">
                  <c:v>1.3836633663366336</c:v>
                </c:pt>
                <c:pt idx="21">
                  <c:v>1.3764329236806774</c:v>
                </c:pt>
                <c:pt idx="22">
                  <c:v>1.394623543001155</c:v>
                </c:pt>
                <c:pt idx="23">
                  <c:v>1.3803329864724245</c:v>
                </c:pt>
                <c:pt idx="24">
                  <c:v>1.3725813091807326</c:v>
                </c:pt>
                <c:pt idx="25">
                  <c:v>1.346310640032613</c:v>
                </c:pt>
                <c:pt idx="26">
                  <c:v>1.362576117246362</c:v>
                </c:pt>
                <c:pt idx="27">
                  <c:v>1.3628192032686415</c:v>
                </c:pt>
                <c:pt idx="28">
                  <c:v>1.3745291662424923</c:v>
                </c:pt>
                <c:pt idx="29">
                  <c:v>1.3937898416615258</c:v>
                </c:pt>
                <c:pt idx="30">
                  <c:v>1.4105186267348429</c:v>
                </c:pt>
                <c:pt idx="31">
                  <c:v>1.4190901537183216</c:v>
                </c:pt>
                <c:pt idx="32">
                  <c:v>1.4252861602497398</c:v>
                </c:pt>
                <c:pt idx="33">
                  <c:v>1.4314562298324138</c:v>
                </c:pt>
                <c:pt idx="34">
                  <c:v>1.4679106007791674</c:v>
                </c:pt>
                <c:pt idx="35">
                  <c:v>1.484487887802805</c:v>
                </c:pt>
                <c:pt idx="36">
                  <c:v>1.5214535438076067</c:v>
                </c:pt>
                <c:pt idx="37">
                  <c:v>1.5762004175365345</c:v>
                </c:pt>
                <c:pt idx="38">
                  <c:v>1.7422356343518168</c:v>
                </c:pt>
                <c:pt idx="39">
                  <c:v>1.3734204326408224</c:v>
                </c:pt>
                <c:pt idx="40">
                  <c:v>1.304863097670617</c:v>
                </c:pt>
                <c:pt idx="41">
                  <c:v>1.2652556621501334</c:v>
                </c:pt>
                <c:pt idx="42">
                  <c:v>1.2102187028657618</c:v>
                </c:pt>
                <c:pt idx="43">
                  <c:v>1.2405319456490316</c:v>
                </c:pt>
                <c:pt idx="44">
                  <c:v>1.2463978338651966</c:v>
                </c:pt>
                <c:pt idx="45">
                  <c:v>1.2050120214536713</c:v>
                </c:pt>
                <c:pt idx="46">
                  <c:v>1.21810021068059</c:v>
                </c:pt>
                <c:pt idx="47">
                  <c:v>1.210425937698665</c:v>
                </c:pt>
                <c:pt idx="48">
                  <c:v>1.2600448514296394</c:v>
                </c:pt>
                <c:pt idx="49">
                  <c:v>1.2641562064156207</c:v>
                </c:pt>
                <c:pt idx="50">
                  <c:v>1.2645346150291155</c:v>
                </c:pt>
                <c:pt idx="51">
                  <c:v>1.2586800707437402</c:v>
                </c:pt>
                <c:pt idx="52">
                  <c:v>1.4820831949164424</c:v>
                </c:pt>
                <c:pt idx="53">
                  <c:v>1.4820831949164424</c:v>
                </c:pt>
                <c:pt idx="54">
                  <c:v>1.3182465810064068</c:v>
                </c:pt>
              </c:numCache>
            </c:numRef>
          </c:xVal>
          <c:yVal>
            <c:numRef>
              <c:f>Sheet1!$B$147:$B$201</c:f>
              <c:numCache>
                <c:formatCode>General</c:formatCode>
                <c:ptCount val="55"/>
                <c:pt idx="0">
                  <c:v>0.08788338470405793</c:v>
                </c:pt>
                <c:pt idx="1">
                  <c:v>0.08512491050483015</c:v>
                </c:pt>
                <c:pt idx="2">
                  <c:v>0.08540074004079073</c:v>
                </c:pt>
                <c:pt idx="3">
                  <c:v>0.08234598328817225</c:v>
                </c:pt>
                <c:pt idx="4">
                  <c:v>0.08482933559356548</c:v>
                </c:pt>
                <c:pt idx="5">
                  <c:v>0.0872583306073626</c:v>
                </c:pt>
                <c:pt idx="6">
                  <c:v>0.08703179813817347</c:v>
                </c:pt>
                <c:pt idx="7">
                  <c:v>0.08693698644983244</c:v>
                </c:pt>
                <c:pt idx="8">
                  <c:v>0.08580491910931054</c:v>
                </c:pt>
                <c:pt idx="9">
                  <c:v>0.08448140931668777</c:v>
                </c:pt>
                <c:pt idx="10">
                  <c:v>0.08648238899208233</c:v>
                </c:pt>
                <c:pt idx="11">
                  <c:v>0.08540888440747085</c:v>
                </c:pt>
                <c:pt idx="12">
                  <c:v>0.08434234890607703</c:v>
                </c:pt>
                <c:pt idx="13">
                  <c:v>0.08435486763488056</c:v>
                </c:pt>
                <c:pt idx="14">
                  <c:v>0.08578949015560366</c:v>
                </c:pt>
                <c:pt idx="15">
                  <c:v>0.08496506755389177</c:v>
                </c:pt>
                <c:pt idx="16">
                  <c:v>0.08679549208551945</c:v>
                </c:pt>
                <c:pt idx="17">
                  <c:v>0.08716134609846704</c:v>
                </c:pt>
                <c:pt idx="18">
                  <c:v>0.08698026543259824</c:v>
                </c:pt>
                <c:pt idx="19">
                  <c:v>0.08647632789372048</c:v>
                </c:pt>
                <c:pt idx="20">
                  <c:v>0.08716901255198081</c:v>
                </c:pt>
                <c:pt idx="21">
                  <c:v>0.08662408048727885</c:v>
                </c:pt>
                <c:pt idx="22">
                  <c:v>0.0879950410516849</c:v>
                </c:pt>
                <c:pt idx="23">
                  <c:v>0.08691801398080062</c:v>
                </c:pt>
                <c:pt idx="24">
                  <c:v>0.08633379836462596</c:v>
                </c:pt>
                <c:pt idx="25">
                  <c:v>0.08435387394489569</c:v>
                </c:pt>
                <c:pt idx="26">
                  <c:v>0.08557974357739315</c:v>
                </c:pt>
                <c:pt idx="27">
                  <c:v>0.0855980640833876</c:v>
                </c:pt>
                <c:pt idx="28">
                  <c:v>0.08648060123976317</c:v>
                </c:pt>
                <c:pt idx="29">
                  <c:v>0.08793220802555271</c:v>
                </c:pt>
                <c:pt idx="30">
                  <c:v>0.08919299547989323</c:v>
                </c:pt>
                <c:pt idx="31">
                  <c:v>0.08983900017407445</c:v>
                </c:pt>
                <c:pt idx="32">
                  <c:v>0.09030597056478643</c:v>
                </c:pt>
                <c:pt idx="33">
                  <c:v>0.09077098618236715</c:v>
                </c:pt>
                <c:pt idx="34">
                  <c:v>0.09351841902606192</c:v>
                </c:pt>
                <c:pt idx="35">
                  <c:v>0.09476778862551605</c:v>
                </c:pt>
                <c:pt idx="36">
                  <c:v>0.09755375515733902</c:v>
                </c:pt>
                <c:pt idx="37">
                  <c:v>0.10167982714997237</c:v>
                </c:pt>
                <c:pt idx="38">
                  <c:v>0.11419329524834082</c:v>
                </c:pt>
                <c:pt idx="39">
                  <c:v>0.08639704003618115</c:v>
                </c:pt>
                <c:pt idx="40">
                  <c:v>0.0812301240016555</c:v>
                </c:pt>
                <c:pt idx="41">
                  <c:v>0.0782450561928475</c:v>
                </c:pt>
                <c:pt idx="42">
                  <c:v>0.07409712151099995</c:v>
                </c:pt>
                <c:pt idx="43">
                  <c:v>0.07638171994621354</c:v>
                </c:pt>
                <c:pt idx="44">
                  <c:v>0.07682381052476375</c:v>
                </c:pt>
                <c:pt idx="45">
                  <c:v>0.07370471294251504</c:v>
                </c:pt>
                <c:pt idx="46">
                  <c:v>0.07469112197969338</c:v>
                </c:pt>
                <c:pt idx="47">
                  <c:v>0.07411274004374346</c:v>
                </c:pt>
                <c:pt idx="48">
                  <c:v>0.07785233641346431</c:v>
                </c:pt>
                <c:pt idx="49">
                  <c:v>0.07816219422823972</c:v>
                </c:pt>
                <c:pt idx="50">
                  <c:v>0.07819071350387255</c:v>
                </c:pt>
                <c:pt idx="51">
                  <c:v>0.07774947787596939</c:v>
                </c:pt>
                <c:pt idx="52">
                  <c:v>0.09458655570218177</c:v>
                </c:pt>
                <c:pt idx="53">
                  <c:v>0.09458655570218177</c:v>
                </c:pt>
                <c:pt idx="54">
                  <c:v>0.0822387882777034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03854719342648"/>
          <c:min val="0.06331503129520859"/>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3468</c:v>
                </c:pt>
                <c:pt idx="1">
                  <c:v>1.3583</c:v>
                </c:pt>
                <c:pt idx="2">
                  <c:v>1.3566</c:v>
                </c:pt>
                <c:pt idx="3">
                  <c:v>1.3708</c:v>
                </c:pt>
                <c:pt idx="4">
                  <c:v>1.3774</c:v>
                </c:pt>
                <c:pt idx="5">
                  <c:v>1.3968</c:v>
                </c:pt>
                <c:pt idx="6">
                  <c:v>1.3961</c:v>
                </c:pt>
                <c:pt idx="7">
                  <c:v>1.4181</c:v>
                </c:pt>
                <c:pt idx="8">
                  <c:v>1.4123</c:v>
                </c:pt>
                <c:pt idx="9">
                  <c:v>1.4032</c:v>
                </c:pt>
                <c:pt idx="10">
                  <c:v>1.4522</c:v>
                </c:pt>
                <c:pt idx="11">
                  <c:v>1.4327</c:v>
                </c:pt>
                <c:pt idx="12">
                  <c:v>1.4296</c:v>
                </c:pt>
                <c:pt idx="13">
                  <c:v>1.4378</c:v>
                </c:pt>
                <c:pt idx="14">
                  <c:v>1.4276</c:v>
                </c:pt>
                <c:pt idx="15">
                  <c:v>1.4614</c:v>
                </c:pt>
                <c:pt idx="16">
                  <c:v>1.4224</c:v>
                </c:pt>
                <c:pt idx="17">
                  <c:v>1.4198</c:v>
                </c:pt>
                <c:pt idx="18">
                  <c:v>1.4199</c:v>
                </c:pt>
                <c:pt idx="19">
                  <c:v>1.4208</c:v>
                </c:pt>
                <c:pt idx="20">
                  <c:v>1.4433</c:v>
                </c:pt>
                <c:pt idx="21">
                  <c:v>1.429</c:v>
                </c:pt>
                <c:pt idx="22">
                  <c:v>1.4219</c:v>
                </c:pt>
                <c:pt idx="23">
                  <c:v>1.4201</c:v>
                </c:pt>
                <c:pt idx="24">
                  <c:v>1.4263</c:v>
                </c:pt>
                <c:pt idx="25">
                  <c:v>1.4149</c:v>
                </c:pt>
                <c:pt idx="26">
                  <c:v>1.4159</c:v>
                </c:pt>
                <c:pt idx="27">
                  <c:v>1.4289</c:v>
                </c:pt>
                <c:pt idx="28">
                  <c:v>1.4642</c:v>
                </c:pt>
                <c:pt idx="29">
                  <c:v>1.4559</c:v>
                </c:pt>
                <c:pt idx="30">
                  <c:v>1.4442</c:v>
                </c:pt>
                <c:pt idx="31">
                  <c:v>1.3927</c:v>
                </c:pt>
                <c:pt idx="32">
                  <c:v>1.3333</c:v>
                </c:pt>
                <c:pt idx="33">
                  <c:v>1.3253</c:v>
                </c:pt>
                <c:pt idx="34">
                  <c:v>1.3538</c:v>
                </c:pt>
                <c:pt idx="35">
                  <c:v>1.3397</c:v>
                </c:pt>
                <c:pt idx="36">
                  <c:v>1.3224</c:v>
                </c:pt>
                <c:pt idx="37">
                  <c:v>1.318</c:v>
                </c:pt>
                <c:pt idx="38">
                  <c:v>1.311</c:v>
                </c:pt>
                <c:pt idx="39">
                  <c:v>1.3108</c:v>
                </c:pt>
                <c:pt idx="40">
                  <c:v>1.3286</c:v>
                </c:pt>
                <c:pt idx="41">
                  <c:v>1.3482</c:v>
                </c:pt>
                <c:pt idx="42">
                  <c:v>1.3641</c:v>
                </c:pt>
                <c:pt idx="43">
                  <c:v>1.361</c:v>
                </c:pt>
                <c:pt idx="44">
                  <c:v>1.4034</c:v>
                </c:pt>
                <c:pt idx="45">
                  <c:v>1.4816</c:v>
                </c:pt>
                <c:pt idx="46">
                  <c:v>1.5489</c:v>
                </c:pt>
                <c:pt idx="47">
                  <c:v>1.511</c:v>
                </c:pt>
                <c:pt idx="48">
                  <c:v>1.5455</c:v>
                </c:pt>
                <c:pt idx="49">
                  <c:v>1.5414</c:v>
                </c:pt>
                <c:pt idx="50">
                  <c:v>1.6287</c:v>
                </c:pt>
                <c:pt idx="51">
                  <c:v>1.327</c:v>
                </c:pt>
                <c:pt idx="52">
                  <c:v>1.2682</c:v>
                </c:pt>
                <c:pt idx="53">
                  <c:v>1.2911</c:v>
                </c:pt>
                <c:pt idx="54">
                  <c:v>1.3132</c:v>
                </c:pt>
                <c:pt idx="55">
                  <c:v>1.3365</c:v>
                </c:pt>
                <c:pt idx="56">
                  <c:v>1.3475</c:v>
                </c:pt>
                <c:pt idx="57">
                  <c:v>1.3568</c:v>
                </c:pt>
                <c:pt idx="58">
                  <c:v>1.3651</c:v>
                </c:pt>
                <c:pt idx="59">
                  <c:v>1.375</c:v>
                </c:pt>
                <c:pt idx="60">
                  <c:v>1.3682</c:v>
                </c:pt>
                <c:pt idx="61">
                  <c:v>1.356</c:v>
                </c:pt>
                <c:pt idx="62">
                  <c:v>1.3641</c:v>
                </c:pt>
                <c:pt idx="63">
                  <c:v>1.3557</c:v>
                </c:pt>
                <c:pt idx="64">
                  <c:v>1.3399</c:v>
                </c:pt>
              </c:numCache>
            </c:numRef>
          </c:xVal>
          <c:yVal>
            <c:numRef>
              <c:f>Sheet1!$B$2:$B$66</c:f>
              <c:numCache>
                <c:formatCode>General</c:formatCode>
                <c:ptCount val="65"/>
                <c:pt idx="0">
                  <c:v>0.10027576482155062</c:v>
                </c:pt>
                <c:pt idx="1">
                  <c:v>0.09587794111470221</c:v>
                </c:pt>
                <c:pt idx="2">
                  <c:v>0.09403445201778887</c:v>
                </c:pt>
                <c:pt idx="3">
                  <c:v>0.08944292797016468</c:v>
                </c:pt>
                <c:pt idx="4">
                  <c:v>0.08632999247436718</c:v>
                </c:pt>
                <c:pt idx="5">
                  <c:v>0.08621596037393205</c:v>
                </c:pt>
                <c:pt idx="6">
                  <c:v>0.08799546416854562</c:v>
                </c:pt>
                <c:pt idx="7">
                  <c:v>0.09108992107151735</c:v>
                </c:pt>
                <c:pt idx="8">
                  <c:v>0.0890628319839582</c:v>
                </c:pt>
                <c:pt idx="9">
                  <c:v>0.0852679873479559</c:v>
                </c:pt>
                <c:pt idx="10">
                  <c:v>0.08513065488494756</c:v>
                </c:pt>
                <c:pt idx="11">
                  <c:v>0.08857005556111669</c:v>
                </c:pt>
                <c:pt idx="12">
                  <c:v>0.08401352539044545</c:v>
                </c:pt>
                <c:pt idx="13">
                  <c:v>0.08429476452810784</c:v>
                </c:pt>
                <c:pt idx="14">
                  <c:v>0.08370026825140739</c:v>
                </c:pt>
                <c:pt idx="15">
                  <c:v>0.08943144265046392</c:v>
                </c:pt>
                <c:pt idx="16">
                  <c:v>0.08376165522778144</c:v>
                </c:pt>
                <c:pt idx="17">
                  <c:v>0.08215995817592454</c:v>
                </c:pt>
                <c:pt idx="18">
                  <c:v>0.08130026473645798</c:v>
                </c:pt>
                <c:pt idx="19">
                  <c:v>0.08219319502068645</c:v>
                </c:pt>
                <c:pt idx="20">
                  <c:v>0.08565914766385839</c:v>
                </c:pt>
                <c:pt idx="21">
                  <c:v>0.08533471400162386</c:v>
                </c:pt>
                <c:pt idx="22">
                  <c:v>0.08545897646923896</c:v>
                </c:pt>
                <c:pt idx="23">
                  <c:v>0.08431330247999297</c:v>
                </c:pt>
                <c:pt idx="24">
                  <c:v>0.08372658658505225</c:v>
                </c:pt>
                <c:pt idx="25">
                  <c:v>0.08459970422615129</c:v>
                </c:pt>
                <c:pt idx="26">
                  <c:v>0.08425645566093333</c:v>
                </c:pt>
                <c:pt idx="27">
                  <c:v>0.08606448750650303</c:v>
                </c:pt>
                <c:pt idx="28">
                  <c:v>0.09016470026420559</c:v>
                </c:pt>
                <c:pt idx="29">
                  <c:v>0.08548771543821049</c:v>
                </c:pt>
                <c:pt idx="30">
                  <c:v>0.08446780378135388</c:v>
                </c:pt>
                <c:pt idx="31">
                  <c:v>0.08599716039247671</c:v>
                </c:pt>
                <c:pt idx="32">
                  <c:v>0.09115324977269539</c:v>
                </c:pt>
                <c:pt idx="33">
                  <c:v>0.09260373078690139</c:v>
                </c:pt>
                <c:pt idx="34">
                  <c:v>0.09206774734147798</c:v>
                </c:pt>
                <c:pt idx="35">
                  <c:v>0.09304344601402048</c:v>
                </c:pt>
                <c:pt idx="36">
                  <c:v>0.09331479748443439</c:v>
                </c:pt>
                <c:pt idx="37">
                  <c:v>0.0921504998190244</c:v>
                </c:pt>
                <c:pt idx="38">
                  <c:v>0.09220347037614662</c:v>
                </c:pt>
                <c:pt idx="39">
                  <c:v>0.09144146668558581</c:v>
                </c:pt>
                <c:pt idx="40">
                  <c:v>0.09543271405657022</c:v>
                </c:pt>
                <c:pt idx="41">
                  <c:v>0.09471544023789807</c:v>
                </c:pt>
                <c:pt idx="42">
                  <c:v>0.09226932182176949</c:v>
                </c:pt>
                <c:pt idx="43">
                  <c:v>0.09258480505069804</c:v>
                </c:pt>
                <c:pt idx="44">
                  <c:v>0.08930206983858634</c:v>
                </c:pt>
                <c:pt idx="45">
                  <c:v>0.08676689133209042</c:v>
                </c:pt>
                <c:pt idx="46">
                  <c:v>0.08868976154585294</c:v>
                </c:pt>
                <c:pt idx="47">
                  <c:v>0.08932312390040653</c:v>
                </c:pt>
                <c:pt idx="48">
                  <c:v>0.09291086245004465</c:v>
                </c:pt>
                <c:pt idx="49">
                  <c:v>0.09560819468448303</c:v>
                </c:pt>
                <c:pt idx="50">
                  <c:v>0.09992515838424608</c:v>
                </c:pt>
                <c:pt idx="51">
                  <c:v>0.11626201455329954</c:v>
                </c:pt>
                <c:pt idx="52">
                  <c:v>0.08169445891033288</c:v>
                </c:pt>
                <c:pt idx="53">
                  <c:v>0.07983651066905703</c:v>
                </c:pt>
                <c:pt idx="54">
                  <c:v>0.08373992792447034</c:v>
                </c:pt>
                <c:pt idx="55">
                  <c:v>0.08489664249527219</c:v>
                </c:pt>
                <c:pt idx="56">
                  <c:v>0.08573177715536379</c:v>
                </c:pt>
                <c:pt idx="57">
                  <c:v>0.08609309069414939</c:v>
                </c:pt>
                <c:pt idx="58">
                  <c:v>0.08510035921763538</c:v>
                </c:pt>
                <c:pt idx="59">
                  <c:v>0.0943283093800092</c:v>
                </c:pt>
                <c:pt idx="60">
                  <c:v>0.08705427795513947</c:v>
                </c:pt>
                <c:pt idx="61">
                  <c:v>0.08525136556845296</c:v>
                </c:pt>
                <c:pt idx="62">
                  <c:v>0.0841683038942162</c:v>
                </c:pt>
                <c:pt idx="63">
                  <c:v>0.09205274215361309</c:v>
                </c:pt>
                <c:pt idx="64">
                  <c:v>0.08890353222153351</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3448</c:v>
                </c:pt>
                <c:pt idx="1">
                  <c:v>1.3366</c:v>
                </c:pt>
                <c:pt idx="2">
                  <c:v>1.3534</c:v>
                </c:pt>
                <c:pt idx="3">
                  <c:v>1.3392</c:v>
                </c:pt>
                <c:pt idx="4">
                  <c:v>1.3349</c:v>
                </c:pt>
                <c:pt idx="5">
                  <c:v>1.3253</c:v>
                </c:pt>
                <c:pt idx="6">
                  <c:v>1.3303</c:v>
                </c:pt>
                <c:pt idx="7">
                  <c:v>1.3411</c:v>
                </c:pt>
                <c:pt idx="8">
                  <c:v>1.3332</c:v>
                </c:pt>
                <c:pt idx="9">
                  <c:v>1.3263</c:v>
                </c:pt>
                <c:pt idx="10">
                  <c:v>1.345</c:v>
                </c:pt>
                <c:pt idx="11">
                  <c:v>1.338</c:v>
                </c:pt>
                <c:pt idx="12">
                  <c:v>1.3366</c:v>
                </c:pt>
                <c:pt idx="13">
                  <c:v>1.3404</c:v>
                </c:pt>
                <c:pt idx="14">
                  <c:v>1.3401</c:v>
                </c:pt>
                <c:pt idx="15">
                  <c:v>1.3574</c:v>
                </c:pt>
                <c:pt idx="16">
                  <c:v>1.3481</c:v>
                </c:pt>
                <c:pt idx="17">
                  <c:v>1.3433</c:v>
                </c:pt>
                <c:pt idx="18">
                  <c:v>1.3371</c:v>
                </c:pt>
                <c:pt idx="19">
                  <c:v>1.3353</c:v>
                </c:pt>
                <c:pt idx="20">
                  <c:v>1.3416</c:v>
                </c:pt>
                <c:pt idx="21">
                  <c:v>1.3328</c:v>
                </c:pt>
                <c:pt idx="22">
                  <c:v>1.3281</c:v>
                </c:pt>
                <c:pt idx="23">
                  <c:v>1.3265</c:v>
                </c:pt>
                <c:pt idx="24">
                  <c:v>1.3336</c:v>
                </c:pt>
                <c:pt idx="25">
                  <c:v>1.321</c:v>
                </c:pt>
                <c:pt idx="26">
                  <c:v>1.3202</c:v>
                </c:pt>
                <c:pt idx="27">
                  <c:v>1.3342</c:v>
                </c:pt>
                <c:pt idx="28">
                  <c:v>1.3502</c:v>
                </c:pt>
                <c:pt idx="29">
                  <c:v>1.3556</c:v>
                </c:pt>
                <c:pt idx="30">
                  <c:v>1.3517</c:v>
                </c:pt>
                <c:pt idx="31">
                  <c:v>1.3663</c:v>
                </c:pt>
                <c:pt idx="32">
                  <c:v>1.3697</c:v>
                </c:pt>
                <c:pt idx="33">
                  <c:v>1.3752</c:v>
                </c:pt>
                <c:pt idx="34">
                  <c:v>1.4318</c:v>
                </c:pt>
                <c:pt idx="35">
                  <c:v>1.3972</c:v>
                </c:pt>
                <c:pt idx="36">
                  <c:v>1.4361</c:v>
                </c:pt>
                <c:pt idx="37">
                  <c:v>1.51</c:v>
                </c:pt>
                <c:pt idx="38">
                  <c:v>1.3856</c:v>
                </c:pt>
                <c:pt idx="39">
                  <c:v>1.2825</c:v>
                </c:pt>
                <c:pt idx="40">
                  <c:v>1.2772</c:v>
                </c:pt>
                <c:pt idx="41">
                  <c:v>1.2793</c:v>
                </c:pt>
                <c:pt idx="42">
                  <c:v>1.2838</c:v>
                </c:pt>
                <c:pt idx="43">
                  <c:v>1.2873</c:v>
                </c:pt>
                <c:pt idx="44">
                  <c:v>1.2889</c:v>
                </c:pt>
                <c:pt idx="45">
                  <c:v>1.3031</c:v>
                </c:pt>
                <c:pt idx="46">
                  <c:v>1.3298</c:v>
                </c:pt>
                <c:pt idx="47">
                  <c:v>1.3328</c:v>
                </c:pt>
                <c:pt idx="48">
                  <c:v>1.3485</c:v>
                </c:pt>
                <c:pt idx="49">
                  <c:v>1.3596</c:v>
                </c:pt>
                <c:pt idx="50">
                  <c:v>1.3681</c:v>
                </c:pt>
                <c:pt idx="51">
                  <c:v>1.3522</c:v>
                </c:pt>
              </c:numCache>
            </c:numRef>
          </c:xVal>
          <c:yVal>
            <c:numRef>
              <c:f>Sheet1!$B$69:$B$120</c:f>
              <c:numCache>
                <c:formatCode>General</c:formatCode>
                <c:ptCount val="52"/>
                <c:pt idx="0">
                  <c:v>0.08476425356991016</c:v>
                </c:pt>
                <c:pt idx="1">
                  <c:v>0.08429395839400615</c:v>
                </c:pt>
                <c:pt idx="2">
                  <c:v>0.09063217815928287</c:v>
                </c:pt>
                <c:pt idx="3">
                  <c:v>0.08486547896921576</c:v>
                </c:pt>
                <c:pt idx="4">
                  <c:v>0.08408530043483112</c:v>
                </c:pt>
                <c:pt idx="5">
                  <c:v>0.08411199956066857</c:v>
                </c:pt>
                <c:pt idx="6">
                  <c:v>0.08330952095642796</c:v>
                </c:pt>
                <c:pt idx="7">
                  <c:v>0.08802620674076993</c:v>
                </c:pt>
                <c:pt idx="8">
                  <c:v>0.08300284004003931</c:v>
                </c:pt>
                <c:pt idx="9">
                  <c:v>0.08310009161646734</c:v>
                </c:pt>
                <c:pt idx="10">
                  <c:v>0.08156798850781312</c:v>
                </c:pt>
                <c:pt idx="11">
                  <c:v>0.08187899043009883</c:v>
                </c:pt>
                <c:pt idx="12">
                  <c:v>0.08248017125861079</c:v>
                </c:pt>
                <c:pt idx="13">
                  <c:v>0.08096813901759417</c:v>
                </c:pt>
                <c:pt idx="14">
                  <c:v>0.08194072865966884</c:v>
                </c:pt>
                <c:pt idx="15">
                  <c:v>0.08222183058658913</c:v>
                </c:pt>
                <c:pt idx="16">
                  <c:v>0.08208785138706388</c:v>
                </c:pt>
                <c:pt idx="17">
                  <c:v>0.08191211598399832</c:v>
                </c:pt>
                <c:pt idx="18">
                  <c:v>0.08059654127491785</c:v>
                </c:pt>
                <c:pt idx="19">
                  <c:v>0.08034853858912895</c:v>
                </c:pt>
                <c:pt idx="20">
                  <c:v>0.07992131709292435</c:v>
                </c:pt>
                <c:pt idx="21">
                  <c:v>0.0810420276221308</c:v>
                </c:pt>
                <c:pt idx="22">
                  <c:v>0.08046108158853829</c:v>
                </c:pt>
                <c:pt idx="23">
                  <c:v>0.08109652951324961</c:v>
                </c:pt>
                <c:pt idx="24">
                  <c:v>0.08057843711028335</c:v>
                </c:pt>
                <c:pt idx="25">
                  <c:v>0.08227533222623098</c:v>
                </c:pt>
                <c:pt idx="26">
                  <c:v>0.08304383763583265</c:v>
                </c:pt>
                <c:pt idx="27">
                  <c:v>0.08311593112378501</c:v>
                </c:pt>
                <c:pt idx="28">
                  <c:v>0.08695108916960986</c:v>
                </c:pt>
                <c:pt idx="29">
                  <c:v>0.08651028890861934</c:v>
                </c:pt>
                <c:pt idx="30">
                  <c:v>0.08602420218952286</c:v>
                </c:pt>
                <c:pt idx="31">
                  <c:v>0.08727933904147686</c:v>
                </c:pt>
                <c:pt idx="32">
                  <c:v>0.08893159955472096</c:v>
                </c:pt>
                <c:pt idx="33">
                  <c:v>0.09036183583394185</c:v>
                </c:pt>
                <c:pt idx="34">
                  <c:v>0.0960388781514827</c:v>
                </c:pt>
                <c:pt idx="35">
                  <c:v>0.10054366229320408</c:v>
                </c:pt>
                <c:pt idx="36">
                  <c:v>0.10192594749830171</c:v>
                </c:pt>
                <c:pt idx="37">
                  <c:v>0.10524405278264459</c:v>
                </c:pt>
                <c:pt idx="38">
                  <c:v>0.13365455994522069</c:v>
                </c:pt>
                <c:pt idx="39">
                  <c:v>0.08392080426754206</c:v>
                </c:pt>
                <c:pt idx="40">
                  <c:v>0.08376732331944443</c:v>
                </c:pt>
                <c:pt idx="41">
                  <c:v>0.08190654053119302</c:v>
                </c:pt>
                <c:pt idx="42">
                  <c:v>0.07914378911901074</c:v>
                </c:pt>
                <c:pt idx="43">
                  <c:v>0.07926770092196359</c:v>
                </c:pt>
                <c:pt idx="44">
                  <c:v>0.0798635512501933</c:v>
                </c:pt>
                <c:pt idx="45">
                  <c:v>0.08038982295832128</c:v>
                </c:pt>
                <c:pt idx="46">
                  <c:v>0.08558121551064113</c:v>
                </c:pt>
                <c:pt idx="47">
                  <c:v>0.08443918057595252</c:v>
                </c:pt>
                <c:pt idx="48">
                  <c:v>0.08109669761926493</c:v>
                </c:pt>
                <c:pt idx="49">
                  <c:v>0.07981208131963079</c:v>
                </c:pt>
                <c:pt idx="50">
                  <c:v>0.08307016584054636</c:v>
                </c:pt>
                <c:pt idx="51">
                  <c:v>0.08684537437644066</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407738974464878</c:v>
                </c:pt>
              </c:numCache>
            </c:numRef>
          </c:xVal>
          <c:yVal>
            <c:numRef>
              <c:f>Sheet1!$B$123:$B$124</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407738974464878</c:v>
                </c:pt>
                <c:pt idx="1">
                  <c:v>1.407738974464878</c:v>
                </c:pt>
              </c:numCache>
            </c:numRef>
          </c:xVal>
          <c:yVal>
            <c:numRef>
              <c:f>Sheet1!$B$127:$B$128</c:f>
              <c:numCache>
                <c:formatCode>General</c:formatCode>
                <c:ptCount val="2"/>
                <c:pt idx="0">
                  <c:v>0.09458655570218179</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407738974464878</c:v>
                </c:pt>
              </c:numCache>
            </c:numRef>
          </c:xVal>
          <c:yVal>
            <c:numRef>
              <c:f>Sheet1!$B$131:$B$132</c:f>
              <c:numCache>
                <c:formatCode>General</c:formatCode>
                <c:ptCount val="2"/>
                <c:pt idx="0">
                  <c:v>0.09458655570218179</c:v>
                </c:pt>
                <c:pt idx="1">
                  <c:v>0.094586555702181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407738974464878</c:v>
                </c:pt>
                <c:pt idx="1">
                  <c:v>1.407738974464878</c:v>
                </c:pt>
              </c:numCache>
            </c:numRef>
          </c:xVal>
          <c:yVal>
            <c:numRef>
              <c:f>Sheet1!$B$135:$B$136</c:f>
              <c:numCache>
                <c:formatCode>General</c:formatCode>
                <c:ptCount val="2"/>
                <c:pt idx="0">
                  <c:v>0.094586555702181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3192445530311374</c:v>
                </c:pt>
              </c:numCache>
            </c:numRef>
          </c:xVal>
          <c:yVal>
            <c:numRef>
              <c:f>Sheet1!$B$139:$B$140</c:f>
              <c:numCache>
                <c:formatCode>General</c:formatCode>
                <c:ptCount val="2"/>
                <c:pt idx="0">
                  <c:v>0.08223878827770345</c:v>
                </c:pt>
                <c:pt idx="1">
                  <c:v>0.0822387882777034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3192445530311374</c:v>
                </c:pt>
                <c:pt idx="1">
                  <c:v>1.3192445530311374</c:v>
                </c:pt>
              </c:numCache>
            </c:numRef>
          </c:xVal>
          <c:yVal>
            <c:numRef>
              <c:f>Sheet1!$B$143:$B$144</c:f>
              <c:numCache>
                <c:formatCode>General</c:formatCode>
                <c:ptCount val="2"/>
                <c:pt idx="0">
                  <c:v>0.082238788277703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3448</c:v>
                </c:pt>
                <c:pt idx="1">
                  <c:v>1.3366</c:v>
                </c:pt>
                <c:pt idx="2">
                  <c:v>1.3534</c:v>
                </c:pt>
                <c:pt idx="3">
                  <c:v>1.3392</c:v>
                </c:pt>
                <c:pt idx="4">
                  <c:v>1.3349</c:v>
                </c:pt>
                <c:pt idx="5">
                  <c:v>1.3253</c:v>
                </c:pt>
                <c:pt idx="6">
                  <c:v>1.3303</c:v>
                </c:pt>
                <c:pt idx="7">
                  <c:v>1.3411</c:v>
                </c:pt>
                <c:pt idx="8">
                  <c:v>1.3332</c:v>
                </c:pt>
                <c:pt idx="9">
                  <c:v>1.3263</c:v>
                </c:pt>
                <c:pt idx="10">
                  <c:v>1.345</c:v>
                </c:pt>
                <c:pt idx="11">
                  <c:v>1.338</c:v>
                </c:pt>
                <c:pt idx="12">
                  <c:v>1.3366</c:v>
                </c:pt>
                <c:pt idx="13">
                  <c:v>1.3404</c:v>
                </c:pt>
                <c:pt idx="14">
                  <c:v>1.3401</c:v>
                </c:pt>
                <c:pt idx="15">
                  <c:v>1.3574</c:v>
                </c:pt>
                <c:pt idx="16">
                  <c:v>1.3481</c:v>
                </c:pt>
                <c:pt idx="17">
                  <c:v>1.3433</c:v>
                </c:pt>
                <c:pt idx="18">
                  <c:v>1.3371</c:v>
                </c:pt>
                <c:pt idx="19">
                  <c:v>1.3353</c:v>
                </c:pt>
                <c:pt idx="20">
                  <c:v>1.3416</c:v>
                </c:pt>
                <c:pt idx="21">
                  <c:v>1.3328</c:v>
                </c:pt>
                <c:pt idx="22">
                  <c:v>1.3281</c:v>
                </c:pt>
                <c:pt idx="23">
                  <c:v>1.3265</c:v>
                </c:pt>
                <c:pt idx="24">
                  <c:v>1.3336</c:v>
                </c:pt>
                <c:pt idx="25">
                  <c:v>1.321</c:v>
                </c:pt>
                <c:pt idx="26">
                  <c:v>1.3202</c:v>
                </c:pt>
                <c:pt idx="27">
                  <c:v>1.3342</c:v>
                </c:pt>
                <c:pt idx="28">
                  <c:v>1.3502</c:v>
                </c:pt>
                <c:pt idx="29">
                  <c:v>1.3556</c:v>
                </c:pt>
                <c:pt idx="30">
                  <c:v>1.3517</c:v>
                </c:pt>
                <c:pt idx="31">
                  <c:v>1.3663</c:v>
                </c:pt>
                <c:pt idx="32">
                  <c:v>1.3697</c:v>
                </c:pt>
                <c:pt idx="33">
                  <c:v>1.3752</c:v>
                </c:pt>
                <c:pt idx="34">
                  <c:v>1.4318</c:v>
                </c:pt>
                <c:pt idx="35">
                  <c:v>1.3972</c:v>
                </c:pt>
                <c:pt idx="36">
                  <c:v>1.4361</c:v>
                </c:pt>
                <c:pt idx="37">
                  <c:v>1.51</c:v>
                </c:pt>
                <c:pt idx="38">
                  <c:v>1.3856</c:v>
                </c:pt>
                <c:pt idx="39">
                  <c:v>1.2825</c:v>
                </c:pt>
                <c:pt idx="40">
                  <c:v>1.2772</c:v>
                </c:pt>
                <c:pt idx="41">
                  <c:v>1.2793</c:v>
                </c:pt>
                <c:pt idx="42">
                  <c:v>1.2838</c:v>
                </c:pt>
                <c:pt idx="43">
                  <c:v>1.2873</c:v>
                </c:pt>
                <c:pt idx="44">
                  <c:v>1.2889</c:v>
                </c:pt>
                <c:pt idx="45">
                  <c:v>1.3031</c:v>
                </c:pt>
                <c:pt idx="46">
                  <c:v>1.3298</c:v>
                </c:pt>
                <c:pt idx="47">
                  <c:v>1.3328</c:v>
                </c:pt>
                <c:pt idx="48">
                  <c:v>1.3485</c:v>
                </c:pt>
                <c:pt idx="49">
                  <c:v>1.3596</c:v>
                </c:pt>
                <c:pt idx="50">
                  <c:v>1.3681</c:v>
                </c:pt>
                <c:pt idx="51">
                  <c:v>1.3522</c:v>
                </c:pt>
                <c:pt idx="52">
                  <c:v>1.407738974464878</c:v>
                </c:pt>
                <c:pt idx="53">
                  <c:v>1.407738974464878</c:v>
                </c:pt>
                <c:pt idx="54">
                  <c:v>1.3192445530311374</c:v>
                </c:pt>
              </c:numCache>
            </c:numRef>
          </c:xVal>
          <c:yVal>
            <c:numRef>
              <c:f>Sheet1!$B$147:$B$201</c:f>
              <c:numCache>
                <c:formatCode>General</c:formatCode>
                <c:ptCount val="55"/>
                <c:pt idx="0">
                  <c:v>0.08580458045406536</c:v>
                </c:pt>
                <c:pt idx="1">
                  <c:v>0.08466042140719782</c:v>
                </c:pt>
                <c:pt idx="2">
                  <c:v>0.08700455213736544</c:v>
                </c:pt>
                <c:pt idx="3">
                  <c:v>0.08502320354400947</c:v>
                </c:pt>
                <c:pt idx="4">
                  <c:v>0.08442321770235944</c:v>
                </c:pt>
                <c:pt idx="5">
                  <c:v>0.0830837144279779</c:v>
                </c:pt>
                <c:pt idx="6">
                  <c:v>0.08378137238338496</c:v>
                </c:pt>
                <c:pt idx="7">
                  <c:v>0.08528831356706415</c:v>
                </c:pt>
                <c:pt idx="8">
                  <c:v>0.08418601399752104</c:v>
                </c:pt>
                <c:pt idx="9">
                  <c:v>0.08322324601905934</c:v>
                </c:pt>
                <c:pt idx="10">
                  <c:v>0.08583248677228164</c:v>
                </c:pt>
                <c:pt idx="11">
                  <c:v>0.08485576563471181</c:v>
                </c:pt>
                <c:pt idx="12">
                  <c:v>0.08466042140719782</c:v>
                </c:pt>
                <c:pt idx="13">
                  <c:v>0.08519064145330718</c:v>
                </c:pt>
                <c:pt idx="14">
                  <c:v>0.08514878197598275</c:v>
                </c:pt>
                <c:pt idx="15">
                  <c:v>0.08756267850169108</c:v>
                </c:pt>
                <c:pt idx="16">
                  <c:v>0.08626503470463401</c:v>
                </c:pt>
                <c:pt idx="17">
                  <c:v>0.08559528306744324</c:v>
                </c:pt>
                <c:pt idx="18">
                  <c:v>0.08473018720273853</c:v>
                </c:pt>
                <c:pt idx="19">
                  <c:v>0.08447903033879198</c:v>
                </c:pt>
                <c:pt idx="20">
                  <c:v>0.08535807936260484</c:v>
                </c:pt>
                <c:pt idx="21">
                  <c:v>0.08413020136108848</c:v>
                </c:pt>
                <c:pt idx="22">
                  <c:v>0.08347440288300587</c:v>
                </c:pt>
                <c:pt idx="23">
                  <c:v>0.08325115233727562</c:v>
                </c:pt>
                <c:pt idx="24">
                  <c:v>0.0842418266339536</c:v>
                </c:pt>
                <c:pt idx="25">
                  <c:v>0.08248372858632788</c:v>
                </c:pt>
                <c:pt idx="26">
                  <c:v>0.08237210331346276</c:v>
                </c:pt>
                <c:pt idx="27">
                  <c:v>0.08432554558860245</c:v>
                </c:pt>
                <c:pt idx="28">
                  <c:v>0.08655805104590497</c:v>
                </c:pt>
                <c:pt idx="29">
                  <c:v>0.08731152163774453</c:v>
                </c:pt>
                <c:pt idx="30">
                  <c:v>0.08676734843252704</c:v>
                </c:pt>
                <c:pt idx="31">
                  <c:v>0.08880450966231562</c:v>
                </c:pt>
                <c:pt idx="32">
                  <c:v>0.08927891707199237</c:v>
                </c:pt>
                <c:pt idx="33">
                  <c:v>0.09004634082294011</c:v>
                </c:pt>
                <c:pt idx="34">
                  <c:v>0.09794382887814773</c:v>
                </c:pt>
                <c:pt idx="35">
                  <c:v>0.09311603582673106</c:v>
                </c:pt>
                <c:pt idx="36">
                  <c:v>0.09854381471979776</c:v>
                </c:pt>
                <c:pt idx="37">
                  <c:v>0.10885519930071372</c:v>
                </c:pt>
                <c:pt idx="38">
                  <c:v>0.09149746937018674</c:v>
                </c:pt>
                <c:pt idx="39">
                  <c:v>0.07711176232969372</c:v>
                </c:pt>
                <c:pt idx="40">
                  <c:v>0.07637224489696226</c:v>
                </c:pt>
                <c:pt idx="41">
                  <c:v>0.07666526123823325</c:v>
                </c:pt>
                <c:pt idx="42">
                  <c:v>0.07729315339809956</c:v>
                </c:pt>
                <c:pt idx="43">
                  <c:v>0.07778151396688449</c:v>
                </c:pt>
                <c:pt idx="44">
                  <c:v>0.07800476451261473</c:v>
                </c:pt>
                <c:pt idx="45">
                  <c:v>0.0799861131059707</c:v>
                </c:pt>
                <c:pt idx="46">
                  <c:v>0.08371160658784427</c:v>
                </c:pt>
                <c:pt idx="47">
                  <c:v>0.08413020136108848</c:v>
                </c:pt>
                <c:pt idx="48">
                  <c:v>0.08632084734106657</c:v>
                </c:pt>
                <c:pt idx="49">
                  <c:v>0.08786964800207017</c:v>
                </c:pt>
                <c:pt idx="50">
                  <c:v>0.08905566652626215</c:v>
                </c:pt>
                <c:pt idx="51">
                  <c:v>0.08683711422806778</c:v>
                </c:pt>
                <c:pt idx="52">
                  <c:v>0.0945865557021818</c:v>
                </c:pt>
                <c:pt idx="53">
                  <c:v>0.0945865557021818</c:v>
                </c:pt>
                <c:pt idx="54">
                  <c:v>0.0822387882777034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603854719342648"/>
          <c:min val="0.06331503129520859"/>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345216923776831</c:v>
                </c:pt>
                <c:pt idx="1">
                  <c:v>2.558551392087084</c:v>
                </c:pt>
                <c:pt idx="2">
                  <c:v>2.864499895156217</c:v>
                </c:pt>
                <c:pt idx="3">
                  <c:v>3.0430527553763445</c:v>
                </c:pt>
                <c:pt idx="4">
                  <c:v>3.0823608148241104</c:v>
                </c:pt>
                <c:pt idx="5">
                  <c:v>2.9124791318864776</c:v>
                </c:pt>
                <c:pt idx="6">
                  <c:v>2.7697214809873247</c:v>
                </c:pt>
                <c:pt idx="7">
                  <c:v>2.645464327098163</c:v>
                </c:pt>
                <c:pt idx="8">
                  <c:v>2.7399353876739565</c:v>
                </c:pt>
                <c:pt idx="9">
                  <c:v>2.6156705508917013</c:v>
                </c:pt>
                <c:pt idx="10">
                  <c:v>2.6773911959097143</c:v>
                </c:pt>
                <c:pt idx="11">
                  <c:v>2.6972138022671595</c:v>
                </c:pt>
                <c:pt idx="12">
                  <c:v>2.7574752208352336</c:v>
                </c:pt>
                <c:pt idx="13">
                  <c:v>2.732587168178414</c:v>
                </c:pt>
                <c:pt idx="14">
                  <c:v>2.6222939691212384</c:v>
                </c:pt>
                <c:pt idx="15">
                  <c:v>2.7556899302931046</c:v>
                </c:pt>
                <c:pt idx="16">
                  <c:v>2.658967562791872</c:v>
                </c:pt>
                <c:pt idx="17">
                  <c:v>2.710632911392405</c:v>
                </c:pt>
                <c:pt idx="18">
                  <c:v>2.6666104126234074</c:v>
                </c:pt>
                <c:pt idx="19">
                  <c:v>2.762118416638712</c:v>
                </c:pt>
                <c:pt idx="20">
                  <c:v>2.636230305062018</c:v>
                </c:pt>
                <c:pt idx="21">
                  <c:v>2.60514048129016</c:v>
                </c:pt>
                <c:pt idx="22">
                  <c:v>2.554653656895319</c:v>
                </c:pt>
                <c:pt idx="23">
                  <c:v>2.6113240931878505</c:v>
                </c:pt>
                <c:pt idx="24">
                  <c:v>2.6281548898158684</c:v>
                </c:pt>
                <c:pt idx="25">
                  <c:v>2.5520679312238603</c:v>
                </c:pt>
                <c:pt idx="26">
                  <c:v>2.5708464608275574</c:v>
                </c:pt>
                <c:pt idx="27">
                  <c:v>2.5415583326344042</c:v>
                </c:pt>
                <c:pt idx="28">
                  <c:v>2.5428403509508417</c:v>
                </c:pt>
                <c:pt idx="29">
                  <c:v>2.508825012607161</c:v>
                </c:pt>
                <c:pt idx="30">
                  <c:v>2.50254576057227</c:v>
                </c:pt>
                <c:pt idx="31">
                  <c:v>2.5246523388116304</c:v>
                </c:pt>
                <c:pt idx="32">
                  <c:v>2.4543021991805336</c:v>
                </c:pt>
                <c:pt idx="33">
                  <c:v>2.526096472767068</c:v>
                </c:pt>
                <c:pt idx="34">
                  <c:v>2.5023570147261274</c:v>
                </c:pt>
                <c:pt idx="35">
                  <c:v>2.4707790839758985</c:v>
                </c:pt>
                <c:pt idx="36">
                  <c:v>2.4070326119307794</c:v>
                </c:pt>
                <c:pt idx="37">
                  <c:v>2.460069591784775</c:v>
                </c:pt>
                <c:pt idx="38">
                  <c:v>2.4687407407407407</c:v>
                </c:pt>
                <c:pt idx="39">
                  <c:v>2.4052473191200776</c:v>
                </c:pt>
                <c:pt idx="40">
                  <c:v>2.5647198945084857</c:v>
                </c:pt>
                <c:pt idx="41">
                  <c:v>2.6296406044956186</c:v>
                </c:pt>
                <c:pt idx="42">
                  <c:v>2.6673149283389</c:v>
                </c:pt>
                <c:pt idx="43">
                  <c:v>2.6396518211780613</c:v>
                </c:pt>
                <c:pt idx="44">
                  <c:v>2.714478001177757</c:v>
                </c:pt>
                <c:pt idx="45">
                  <c:v>2.7310620399579393</c:v>
                </c:pt>
                <c:pt idx="46">
                  <c:v>2.845656230561891</c:v>
                </c:pt>
                <c:pt idx="47">
                  <c:v>2.8584953083109923</c:v>
                </c:pt>
                <c:pt idx="48">
                  <c:v>2.903063557384545</c:v>
                </c:pt>
                <c:pt idx="49">
                  <c:v>2.9118512074893332</c:v>
                </c:pt>
                <c:pt idx="50">
                  <c:v>2.820749166503236</c:v>
                </c:pt>
                <c:pt idx="51">
                  <c:v>1.8902381259957803</c:v>
                </c:pt>
                <c:pt idx="52">
                  <c:v>1.0663928242099086</c:v>
                </c:pt>
                <c:pt idx="53">
                  <c:v>0.6549492004972779</c:v>
                </c:pt>
                <c:pt idx="54">
                  <c:v>0.45484511684908935</c:v>
                </c:pt>
                <c:pt idx="55">
                  <c:v>0.41625116200456347</c:v>
                </c:pt>
                <c:pt idx="56">
                  <c:v>0.3911775890480416</c:v>
                </c:pt>
                <c:pt idx="57">
                  <c:v>0.45574117149503063</c:v>
                </c:pt>
                <c:pt idx="58">
                  <c:v>0.4331164742917104</c:v>
                </c:pt>
                <c:pt idx="59">
                  <c:v>0.4383051698176343</c:v>
                </c:pt>
                <c:pt idx="60">
                  <c:v>0.46761413658659284</c:v>
                </c:pt>
                <c:pt idx="61">
                  <c:v>0.5583326308690888</c:v>
                </c:pt>
                <c:pt idx="62">
                  <c:v>0.49607291360409933</c:v>
                </c:pt>
                <c:pt idx="63">
                  <c:v>0.4926668914362779</c:v>
                </c:pt>
                <c:pt idx="64">
                  <c:v>0.5104886320813968</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5558552104841767</c:v>
                </c:pt>
                <c:pt idx="1">
                  <c:v>0.49951111677932236</c:v>
                </c:pt>
                <c:pt idx="2">
                  <c:v>0.5261173480194874</c:v>
                </c:pt>
                <c:pt idx="3">
                  <c:v>0.4493748675566857</c:v>
                </c:pt>
                <c:pt idx="4">
                  <c:v>0.5804626815265114</c:v>
                </c:pt>
                <c:pt idx="5">
                  <c:v>0.7287502099781622</c:v>
                </c:pt>
                <c:pt idx="6">
                  <c:v>0.5839903224460852</c:v>
                </c:pt>
                <c:pt idx="7">
                  <c:v>0.37135223145326257</c:v>
                </c:pt>
                <c:pt idx="8">
                  <c:v>0.8784038147822815</c:v>
                </c:pt>
                <c:pt idx="9">
                  <c:v>0.6757511637748624</c:v>
                </c:pt>
                <c:pt idx="10">
                  <c:v>0.4284932199107218</c:v>
                </c:pt>
                <c:pt idx="11">
                  <c:v>0.672799664710813</c:v>
                </c:pt>
                <c:pt idx="12">
                  <c:v>0.6661909159600369</c:v>
                </c:pt>
                <c:pt idx="13">
                  <c:v>0.3283757174577905</c:v>
                </c:pt>
                <c:pt idx="14">
                  <c:v>0.45293057941262727</c:v>
                </c:pt>
                <c:pt idx="15">
                  <c:v>0.32978767955106997</c:v>
                </c:pt>
                <c:pt idx="16">
                  <c:v>0.40617607299763436</c:v>
                </c:pt>
                <c:pt idx="17">
                  <c:v>0.8419634587858887</c:v>
                </c:pt>
                <c:pt idx="18">
                  <c:v>0.6591166477916194</c:v>
                </c:pt>
                <c:pt idx="19">
                  <c:v>0.3661700703046535</c:v>
                </c:pt>
                <c:pt idx="20">
                  <c:v>0.807892091152815</c:v>
                </c:pt>
                <c:pt idx="21">
                  <c:v>0.419797657529071</c:v>
                </c:pt>
                <c:pt idx="22">
                  <c:v>0.6380293501048219</c:v>
                </c:pt>
                <c:pt idx="23">
                  <c:v>1.299328523168036</c:v>
                </c:pt>
                <c:pt idx="24">
                  <c:v>0.4479096989966555</c:v>
                </c:pt>
                <c:pt idx="25">
                  <c:v>1.158968307484828</c:v>
                </c:pt>
                <c:pt idx="26">
                  <c:v>1.0785624919107815</c:v>
                </c:pt>
                <c:pt idx="27">
                  <c:v>0.9970089304789984</c:v>
                </c:pt>
                <c:pt idx="28">
                  <c:v>0.618126012447779</c:v>
                </c:pt>
                <c:pt idx="29">
                  <c:v>0.8754311996933691</c:v>
                </c:pt>
                <c:pt idx="30">
                  <c:v>1.5913430935709738</c:v>
                </c:pt>
                <c:pt idx="31">
                  <c:v>1.012975448416232</c:v>
                </c:pt>
                <c:pt idx="32">
                  <c:v>0.798965575716466</c:v>
                </c:pt>
                <c:pt idx="33">
                  <c:v>0.4213009774182676</c:v>
                </c:pt>
                <c:pt idx="34">
                  <c:v>0.20635575732562939</c:v>
                </c:pt>
                <c:pt idx="35">
                  <c:v>0.540675428381301</c:v>
                </c:pt>
                <c:pt idx="36">
                  <c:v>1.089984255782972</c:v>
                </c:pt>
                <c:pt idx="37">
                  <c:v>1.5900499423741834</c:v>
                </c:pt>
                <c:pt idx="38">
                  <c:v>2.4036360458001926</c:v>
                </c:pt>
                <c:pt idx="39">
                  <c:v>2.534696049306079</c:v>
                </c:pt>
                <c:pt idx="40">
                  <c:v>2.552586244975485</c:v>
                </c:pt>
                <c:pt idx="41">
                  <c:v>2.493068270991368</c:v>
                </c:pt>
                <c:pt idx="42">
                  <c:v>2.43978102189781</c:v>
                </c:pt>
                <c:pt idx="43">
                  <c:v>2.4122282844028753</c:v>
                </c:pt>
                <c:pt idx="44">
                  <c:v>2.4578056372862562</c:v>
                </c:pt>
                <c:pt idx="45">
                  <c:v>2.3771744637730112</c:v>
                </c:pt>
                <c:pt idx="46">
                  <c:v>2.416091276524082</c:v>
                </c:pt>
                <c:pt idx="47">
                  <c:v>2.430946940847931</c:v>
                </c:pt>
                <c:pt idx="48">
                  <c:v>2.3572182578220664</c:v>
                </c:pt>
                <c:pt idx="49">
                  <c:v>2.3869497319883513</c:v>
                </c:pt>
                <c:pt idx="50">
                  <c:v>2.3489068962606567</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3.442978972919109</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3.442978972919109</c:v>
                </c:pt>
                <c:pt idx="1">
                  <c:v>13.442978972919109</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6477685397038373</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6477685397038373</c:v>
                </c:pt>
                <c:pt idx="1">
                  <c:v>2.6477685397038373</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6477685397038373</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6477685397038373</c:v>
                </c:pt>
                <c:pt idx="1">
                  <c:v>2.6477685397038373</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5558552104841767</c:v>
                </c:pt>
                <c:pt idx="1">
                  <c:v>0.49951111677932236</c:v>
                </c:pt>
                <c:pt idx="2">
                  <c:v>0.5261173480194874</c:v>
                </c:pt>
                <c:pt idx="3">
                  <c:v>0.4493748675566857</c:v>
                </c:pt>
                <c:pt idx="4">
                  <c:v>0.5804626815265114</c:v>
                </c:pt>
                <c:pt idx="5">
                  <c:v>0.7287502099781622</c:v>
                </c:pt>
                <c:pt idx="6">
                  <c:v>0.5839903224460852</c:v>
                </c:pt>
                <c:pt idx="7">
                  <c:v>0.37135223145326257</c:v>
                </c:pt>
                <c:pt idx="8">
                  <c:v>0.8784038147822815</c:v>
                </c:pt>
                <c:pt idx="9">
                  <c:v>0.6757511637748624</c:v>
                </c:pt>
                <c:pt idx="10">
                  <c:v>0.4284932199107218</c:v>
                </c:pt>
                <c:pt idx="11">
                  <c:v>0.672799664710813</c:v>
                </c:pt>
                <c:pt idx="12">
                  <c:v>0.6661909159600369</c:v>
                </c:pt>
                <c:pt idx="13">
                  <c:v>0.3283757174577905</c:v>
                </c:pt>
                <c:pt idx="14">
                  <c:v>0.45293057941262727</c:v>
                </c:pt>
                <c:pt idx="15">
                  <c:v>0.32978767955106997</c:v>
                </c:pt>
                <c:pt idx="16">
                  <c:v>0.40617607299763436</c:v>
                </c:pt>
                <c:pt idx="17">
                  <c:v>0.8419634587858887</c:v>
                </c:pt>
                <c:pt idx="18">
                  <c:v>0.6591166477916194</c:v>
                </c:pt>
                <c:pt idx="19">
                  <c:v>0.3661700703046535</c:v>
                </c:pt>
                <c:pt idx="20">
                  <c:v>0.807892091152815</c:v>
                </c:pt>
                <c:pt idx="21">
                  <c:v>0.419797657529071</c:v>
                </c:pt>
                <c:pt idx="22">
                  <c:v>0.6380293501048219</c:v>
                </c:pt>
                <c:pt idx="23">
                  <c:v>1.299328523168036</c:v>
                </c:pt>
                <c:pt idx="24">
                  <c:v>0.4479096989966555</c:v>
                </c:pt>
                <c:pt idx="25">
                  <c:v>1.158968307484828</c:v>
                </c:pt>
                <c:pt idx="26">
                  <c:v>1.0785624919107815</c:v>
                </c:pt>
                <c:pt idx="27">
                  <c:v>0.9970089304789984</c:v>
                </c:pt>
                <c:pt idx="28">
                  <c:v>0.618126012447779</c:v>
                </c:pt>
                <c:pt idx="29">
                  <c:v>0.8754311996933691</c:v>
                </c:pt>
                <c:pt idx="30">
                  <c:v>1.5913430935709738</c:v>
                </c:pt>
                <c:pt idx="31">
                  <c:v>1.012975448416232</c:v>
                </c:pt>
                <c:pt idx="32">
                  <c:v>0.798965575716466</c:v>
                </c:pt>
                <c:pt idx="33">
                  <c:v>0.4213009774182676</c:v>
                </c:pt>
                <c:pt idx="34">
                  <c:v>0.20635575732562939</c:v>
                </c:pt>
                <c:pt idx="35">
                  <c:v>0.540675428381301</c:v>
                </c:pt>
                <c:pt idx="36">
                  <c:v>1.089984255782972</c:v>
                </c:pt>
                <c:pt idx="37">
                  <c:v>1.5900499423741834</c:v>
                </c:pt>
                <c:pt idx="38">
                  <c:v>2.4036360458001926</c:v>
                </c:pt>
                <c:pt idx="39">
                  <c:v>2.534696049306079</c:v>
                </c:pt>
                <c:pt idx="40">
                  <c:v>2.552586244975485</c:v>
                </c:pt>
                <c:pt idx="41">
                  <c:v>2.493068270991368</c:v>
                </c:pt>
                <c:pt idx="42">
                  <c:v>2.43978102189781</c:v>
                </c:pt>
                <c:pt idx="43">
                  <c:v>2.4122282844028753</c:v>
                </c:pt>
                <c:pt idx="44">
                  <c:v>2.4578056372862562</c:v>
                </c:pt>
                <c:pt idx="45">
                  <c:v>2.3771744637730112</c:v>
                </c:pt>
                <c:pt idx="46">
                  <c:v>2.416091276524082</c:v>
                </c:pt>
                <c:pt idx="47">
                  <c:v>2.430946940847931</c:v>
                </c:pt>
                <c:pt idx="48">
                  <c:v>2.3572182578220664</c:v>
                </c:pt>
                <c:pt idx="49">
                  <c:v>2.3869497319883513</c:v>
                </c:pt>
                <c:pt idx="50">
                  <c:v>2.3489068962606567</c:v>
                </c:pt>
                <c:pt idx="51">
                  <c:v>2.6477685397038373</c:v>
                </c:pt>
                <c:pt idx="52">
                  <c:v>13.442978972919109</c:v>
                </c:pt>
                <c:pt idx="53">
                  <c:v>2.6477685397038373</c:v>
                </c:pt>
              </c:numCache>
            </c:numRef>
          </c:xVal>
          <c:yVal>
            <c:numRef>
              <c:f>Sheet1!$B$146:$B$199</c:f>
              <c:numCache>
                <c:formatCode>General</c:formatCode>
                <c:ptCount val="54"/>
                <c:pt idx="0">
                  <c:v>-2.4396435386474826e-06</c:v>
                </c:pt>
                <c:pt idx="1">
                  <c:v>-1.1671223812886319e-05</c:v>
                </c:pt>
                <c:pt idx="2">
                  <c:v>-7.311981462212335e-06</c:v>
                </c:pt>
                <c:pt idx="3">
                  <c:v>-1.9885692782295578e-05</c:v>
                </c:pt>
                <c:pt idx="4">
                  <c:v>1.592116124810337e-06</c:v>
                </c:pt>
                <c:pt idx="5">
                  <c:v>2.5887976303886156e-05</c:v>
                </c:pt>
                <c:pt idx="6">
                  <c:v>2.1700950785285883e-06</c:v>
                </c:pt>
                <c:pt idx="7">
                  <c:v>-3.2669148527798494e-05</c:v>
                </c:pt>
                <c:pt idx="8">
                  <c:v>5.040765840784042e-05</c:v>
                </c:pt>
                <c:pt idx="9">
                  <c:v>1.7204458346409444e-05</c:v>
                </c:pt>
                <c:pt idx="10">
                  <c:v>-2.3307002698324595e-05</c:v>
                </c:pt>
                <c:pt idx="11">
                  <c:v>1.6720876150876394e-05</c:v>
                </c:pt>
                <c:pt idx="12">
                  <c:v>1.5638079524052506e-05</c:v>
                </c:pt>
                <c:pt idx="13">
                  <c:v>-3.971054564271859e-05</c:v>
                </c:pt>
                <c:pt idx="14">
                  <c:v>-1.930311460467624e-05</c:v>
                </c:pt>
                <c:pt idx="15">
                  <c:v>-3.9479205664537896e-05</c:v>
                </c:pt>
                <c:pt idx="16">
                  <c:v>-2.6963508991590215e-05</c:v>
                </c:pt>
                <c:pt idx="17">
                  <c:v>4.4437164439746726e-05</c:v>
                </c:pt>
                <c:pt idx="18">
                  <c:v>1.4479010841178088e-05</c:v>
                </c:pt>
                <c:pt idx="19">
                  <c:v>-3.351820889050524e-05</c:v>
                </c:pt>
                <c:pt idx="20">
                  <c:v>3.8854812418868904e-05</c:v>
                </c:pt>
                <c:pt idx="21">
                  <c:v>-2.4731708943070608e-05</c:v>
                </c:pt>
                <c:pt idx="22">
                  <c:v>1.1024006624016095e-05</c:v>
                </c:pt>
                <c:pt idx="23">
                  <c:v>0.00011937318752307541</c:v>
                </c:pt>
                <c:pt idx="24">
                  <c:v>-2.0125750262819835e-05</c:v>
                </c:pt>
                <c:pt idx="25">
                  <c:v>9.637616133650684e-05</c:v>
                </c:pt>
                <c:pt idx="26">
                  <c:v>8.320223853147106e-05</c:v>
                </c:pt>
                <c:pt idx="27">
                  <c:v>6.984026570515672e-05</c:v>
                </c:pt>
                <c:pt idx="28">
                  <c:v>7.762985863459578e-06</c:v>
                </c:pt>
                <c:pt idx="29">
                  <c:v>4.992061650134609e-05</c:v>
                </c:pt>
                <c:pt idx="30">
                  <c:v>0.0001672177045019656</c:v>
                </c:pt>
                <c:pt idx="31">
                  <c:v>7.245626646665178e-05</c:v>
                </c:pt>
                <c:pt idx="32">
                  <c:v>3.739226615356643e-05</c:v>
                </c:pt>
                <c:pt idx="33">
                  <c:v>-2.4485400637755142e-05</c:v>
                </c:pt>
                <c:pt idx="34">
                  <c:v>-5.970265098955492e-05</c:v>
                </c:pt>
                <c:pt idx="35">
                  <c:v>-4.926743211635531e-06</c:v>
                </c:pt>
                <c:pt idx="36">
                  <c:v>8.507361356168906e-05</c:v>
                </c:pt>
                <c:pt idx="37">
                  <c:v>0.00016700583084680609</c:v>
                </c:pt>
                <c:pt idx="38">
                  <c:v>0.0003003061455723456</c:v>
                </c:pt>
                <c:pt idx="39">
                  <c:v>0.0003217793979321111</c:v>
                </c:pt>
                <c:pt idx="40">
                  <c:v>0.0003247105796511585</c:v>
                </c:pt>
                <c:pt idx="41">
                  <c:v>0.00031495898159595545</c:v>
                </c:pt>
                <c:pt idx="42">
                  <c:v>0.00030622824363826676</c:v>
                </c:pt>
                <c:pt idx="43">
                  <c:v>0.0003017139229484727</c:v>
                </c:pt>
                <c:pt idx="44">
                  <c:v>0.00030918144907524385</c:v>
                </c:pt>
                <c:pt idx="45">
                  <c:v>0.0002959706029696569</c:v>
                </c:pt>
                <c:pt idx="46">
                  <c:v>0.0003023468468189404</c:v>
                </c:pt>
                <c:pt idx="47">
                  <c:v>0.0003047808420918281</c:v>
                </c:pt>
                <c:pt idx="48">
                  <c:v>0.00029270092011398046</c:v>
                </c:pt>
                <c:pt idx="49">
                  <c:v>0.00029757221136014473</c:v>
                </c:pt>
                <c:pt idx="50">
                  <c:v>0.0002913391624496493</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6.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31.09320323951481</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1.09320323951481</c:v>
                </c:pt>
                <c:pt idx="1">
                  <c:v>31.09320323951481</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7322231028945</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7322231028945</c:v>
                </c:pt>
                <c:pt idx="1">
                  <c:v>6.167322231028945</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7322231028945</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7322231028945</c:v>
                </c:pt>
                <c:pt idx="1">
                  <c:v>6.167322231028945</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7322231028945</c:v>
                </c:pt>
                <c:pt idx="52">
                  <c:v>31.09320323951481</c:v>
                </c:pt>
                <c:pt idx="53">
                  <c:v>6.167322231028945</c:v>
                </c:pt>
              </c:numCache>
            </c:numRef>
          </c:xVal>
          <c:yVal>
            <c:numRef>
              <c:f>Sheet1!$B$146:$B$199</c:f>
              <c:numCache>
                <c:formatCode>General</c:formatCode>
                <c:ptCount val="54"/>
                <c:pt idx="0">
                  <c:v>-3.720080656917585e-06</c:v>
                </c:pt>
                <c:pt idx="1">
                  <c:v>-1.3945290484353439e-05</c:v>
                </c:pt>
                <c:pt idx="2">
                  <c:v>-9.198125061345397e-06</c:v>
                </c:pt>
                <c:pt idx="3">
                  <c:v>-2.2084302054144528e-05</c:v>
                </c:pt>
                <c:pt idx="4">
                  <c:v>2.4653439758392105e-07</c:v>
                </c:pt>
                <c:pt idx="5">
                  <c:v>2.5813106922394067e-05</c:v>
                </c:pt>
                <c:pt idx="6">
                  <c:v>2.020512507826079e-06</c:v>
                </c:pt>
                <c:pt idx="7">
                  <c:v>-3.4204120503319034e-05</c:v>
                </c:pt>
                <c:pt idx="8">
                  <c:v>5.169189959460686e-05</c:v>
                </c:pt>
                <c:pt idx="9">
                  <c:v>1.5985268191652443e-05</c:v>
                </c:pt>
                <c:pt idx="10">
                  <c:v>-2.5121352578879116e-05</c:v>
                </c:pt>
                <c:pt idx="11">
                  <c:v>1.658842074913479e-05</c:v>
                </c:pt>
                <c:pt idx="12">
                  <c:v>1.5289868772437517e-05</c:v>
                </c:pt>
                <c:pt idx="13">
                  <c:v>-4.1704499953422926e-05</c:v>
                </c:pt>
                <c:pt idx="14">
                  <c:v>-2.060835226642304e-05</c:v>
                </c:pt>
                <c:pt idx="15">
                  <c:v>-4.144195119310709e-05</c:v>
                </c:pt>
                <c:pt idx="16">
                  <c:v>-2.9095063545821578e-05</c:v>
                </c:pt>
                <c:pt idx="17">
                  <c:v>4.459598715363817e-05</c:v>
                </c:pt>
                <c:pt idx="18">
                  <c:v>1.4182906431646397e-05</c:v>
                </c:pt>
                <c:pt idx="19">
                  <c:v>-3.5233027807259485e-05</c:v>
                </c:pt>
                <c:pt idx="20">
                  <c:v>3.952950567078654e-05</c:v>
                </c:pt>
                <c:pt idx="21">
                  <c:v>-2.636313725604864e-05</c:v>
                </c:pt>
                <c:pt idx="22">
                  <c:v>1.0656237948484973e-05</c:v>
                </c:pt>
                <c:pt idx="23">
                  <c:v>0.00012374379452020288</c:v>
                </c:pt>
                <c:pt idx="24">
                  <c:v>-2.129665577319701e-05</c:v>
                </c:pt>
                <c:pt idx="25">
                  <c:v>9.78153304609033e-05</c:v>
                </c:pt>
                <c:pt idx="26">
                  <c:v>8.007554935848158e-05</c:v>
                </c:pt>
                <c:pt idx="27">
                  <c:v>6.824666331938679e-05</c:v>
                </c:pt>
                <c:pt idx="28">
                  <c:v>5.5684687283104225e-06</c:v>
                </c:pt>
                <c:pt idx="29">
                  <c:v>4.854131447081676e-05</c:v>
                </c:pt>
                <c:pt idx="30">
                  <c:v>0.0001687744548705901</c:v>
                </c:pt>
                <c:pt idx="31">
                  <c:v>7.219199063656537e-05</c:v>
                </c:pt>
                <c:pt idx="32">
                  <c:v>3.6407304196760316e-05</c:v>
                </c:pt>
                <c:pt idx="33">
                  <c:v>-2.636313725604864e-05</c:v>
                </c:pt>
                <c:pt idx="34">
                  <c:v>-6.184269946089205e-05</c:v>
                </c:pt>
                <c:pt idx="35">
                  <c:v>-5.075399933142594e-06</c:v>
                </c:pt>
                <c:pt idx="36">
                  <c:v>9.426737424041895e-05</c:v>
                </c:pt>
                <c:pt idx="37">
                  <c:v>0.00019637045835351727</c:v>
                </c:pt>
                <c:pt idx="38">
                  <c:v>0.00029295292258754203</c:v>
                </c:pt>
                <c:pt idx="39">
                  <c:v>0.0003083155730222392</c:v>
                </c:pt>
                <c:pt idx="40">
                  <c:v>0.00031273632647296274</c:v>
                </c:pt>
                <c:pt idx="41">
                  <c:v>0.00030846458718349957</c:v>
                </c:pt>
                <c:pt idx="42">
                  <c:v>0.0003011416055444199</c:v>
                </c:pt>
                <c:pt idx="43">
                  <c:v>0.0002979768285957478</c:v>
                </c:pt>
                <c:pt idx="44">
                  <c:v>0.0003116719396068174</c:v>
                </c:pt>
                <c:pt idx="45">
                  <c:v>0.0003021847046732422</c:v>
                </c:pt>
                <c:pt idx="46">
                  <c:v>0.0003098908655841342</c:v>
                </c:pt>
                <c:pt idx="47">
                  <c:v>0.0003103591958052382</c:v>
                </c:pt>
                <c:pt idx="48">
                  <c:v>0.0002988141462637822</c:v>
                </c:pt>
                <c:pt idx="49">
                  <c:v>0.00030397997052080734</c:v>
                </c:pt>
                <c:pt idx="50">
                  <c:v>0.0002976007452363765</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235737097346528</c:v>
                </c:pt>
                <c:pt idx="1">
                  <c:v>2.384819512195122</c:v>
                </c:pt>
                <c:pt idx="2">
                  <c:v>2.6693762701266217</c:v>
                </c:pt>
                <c:pt idx="3">
                  <c:v>2.7992040800556373</c:v>
                </c:pt>
                <c:pt idx="4">
                  <c:v>2.8100213544844417</c:v>
                </c:pt>
                <c:pt idx="5">
                  <c:v>2.647808764940239</c:v>
                </c:pt>
                <c:pt idx="6">
                  <c:v>2.500338753387534</c:v>
                </c:pt>
                <c:pt idx="7">
                  <c:v>2.415636927030193</c:v>
                </c:pt>
                <c:pt idx="8">
                  <c:v>2.4908878680623543</c:v>
                </c:pt>
                <c:pt idx="9">
                  <c:v>2.3532484124300153</c:v>
                </c:pt>
                <c:pt idx="10">
                  <c:v>2.4594295314826833</c:v>
                </c:pt>
                <c:pt idx="11">
                  <c:v>2.4732333231800183</c:v>
                </c:pt>
                <c:pt idx="12">
                  <c:v>2.5366625972836867</c:v>
                </c:pt>
                <c:pt idx="13">
                  <c:v>2.510608203677511</c:v>
                </c:pt>
                <c:pt idx="14">
                  <c:v>2.413317587901413</c:v>
                </c:pt>
                <c:pt idx="15">
                  <c:v>2.5380569306930694</c:v>
                </c:pt>
                <c:pt idx="16">
                  <c:v>2.442645126381696</c:v>
                </c:pt>
                <c:pt idx="17">
                  <c:v>2.5058314155322385</c:v>
                </c:pt>
                <c:pt idx="18">
                  <c:v>2.5071003570011903</c:v>
                </c:pt>
                <c:pt idx="19">
                  <c:v>2.604420370077495</c:v>
                </c:pt>
                <c:pt idx="20">
                  <c:v>2.480424240034696</c:v>
                </c:pt>
                <c:pt idx="21">
                  <c:v>2.4257390896292823</c:v>
                </c:pt>
                <c:pt idx="22">
                  <c:v>2.378122308354867</c:v>
                </c:pt>
                <c:pt idx="23">
                  <c:v>2.4027056360958214</c:v>
                </c:pt>
                <c:pt idx="24">
                  <c:v>2.4032519072204668</c:v>
                </c:pt>
                <c:pt idx="25">
                  <c:v>2.3482993197278916</c:v>
                </c:pt>
                <c:pt idx="26">
                  <c:v>2.3683823529411767</c:v>
                </c:pt>
                <c:pt idx="27">
                  <c:v>2.3595873077671796</c:v>
                </c:pt>
                <c:pt idx="28">
                  <c:v>2.357384705195563</c:v>
                </c:pt>
                <c:pt idx="29">
                  <c:v>2.3187167436982947</c:v>
                </c:pt>
                <c:pt idx="30">
                  <c:v>2.2439254452158166</c:v>
                </c:pt>
                <c:pt idx="31">
                  <c:v>2.2403799409147</c:v>
                </c:pt>
                <c:pt idx="32">
                  <c:v>2.188576541644918</c:v>
                </c:pt>
                <c:pt idx="33">
                  <c:v>2.2677120725486493</c:v>
                </c:pt>
                <c:pt idx="34">
                  <c:v>2.306367271608736</c:v>
                </c:pt>
                <c:pt idx="35">
                  <c:v>2.269574641018694</c:v>
                </c:pt>
                <c:pt idx="36">
                  <c:v>2.2031055417185557</c:v>
                </c:pt>
                <c:pt idx="37">
                  <c:v>2.2601068184476234</c:v>
                </c:pt>
                <c:pt idx="38">
                  <c:v>2.2757921023880128</c:v>
                </c:pt>
                <c:pt idx="39">
                  <c:v>2.2186730265472883</c:v>
                </c:pt>
                <c:pt idx="40">
                  <c:v>2.326606212618175</c:v>
                </c:pt>
                <c:pt idx="41">
                  <c:v>2.374617737003058</c:v>
                </c:pt>
                <c:pt idx="42">
                  <c:v>2.414928229665072</c:v>
                </c:pt>
                <c:pt idx="43">
                  <c:v>2.3874493617671786</c:v>
                </c:pt>
                <c:pt idx="44">
                  <c:v>2.4356129227053143</c:v>
                </c:pt>
                <c:pt idx="45">
                  <c:v>2.43597824048021</c:v>
                </c:pt>
                <c:pt idx="46">
                  <c:v>2.459253153669725</c:v>
                </c:pt>
                <c:pt idx="47">
                  <c:v>2.4826457105435495</c:v>
                </c:pt>
                <c:pt idx="48">
                  <c:v>2.468768779384213</c:v>
                </c:pt>
                <c:pt idx="49">
                  <c:v>2.434627506667128</c:v>
                </c:pt>
                <c:pt idx="50">
                  <c:v>2.34128792811564</c:v>
                </c:pt>
                <c:pt idx="51">
                  <c:v>1.4730042616019596</c:v>
                </c:pt>
                <c:pt idx="52">
                  <c:v>0.9682600091338103</c:v>
                </c:pt>
                <c:pt idx="53">
                  <c:v>0.6084186213213333</c:v>
                </c:pt>
                <c:pt idx="54">
                  <c:v>0.40775117442036674</c:v>
                </c:pt>
                <c:pt idx="55">
                  <c:v>0.36652156118614426</c:v>
                </c:pt>
                <c:pt idx="56">
                  <c:v>0.34113268727661294</c:v>
                </c:pt>
                <c:pt idx="57">
                  <c:v>0.39368697939500213</c:v>
                </c:pt>
                <c:pt idx="58">
                  <c:v>0.377156432748538</c:v>
                </c:pt>
                <c:pt idx="59">
                  <c:v>0.38573952735036443</c:v>
                </c:pt>
                <c:pt idx="60">
                  <c:v>0.40992282249173095</c:v>
                </c:pt>
                <c:pt idx="61">
                  <c:v>0.4881886861986365</c:v>
                </c:pt>
                <c:pt idx="62">
                  <c:v>0.4340524052772776</c:v>
                </c:pt>
                <c:pt idx="63">
                  <c:v>0.43057090239410684</c:v>
                </c:pt>
                <c:pt idx="64">
                  <c:v>0.4472323098932541</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4838958180484226</c:v>
                </c:pt>
                <c:pt idx="1">
                  <c:v>0.43357933579335795</c:v>
                </c:pt>
                <c:pt idx="2">
                  <c:v>0.4590788111784711</c:v>
                </c:pt>
                <c:pt idx="3">
                  <c:v>0.3916158818097876</c:v>
                </c:pt>
                <c:pt idx="4">
                  <c:v>0.5074362475550799</c:v>
                </c:pt>
                <c:pt idx="5">
                  <c:v>0.6430371303638924</c:v>
                </c:pt>
                <c:pt idx="6">
                  <c:v>0.5178089285053815</c:v>
                </c:pt>
                <c:pt idx="7">
                  <c:v>0.32796253963572003</c:v>
                </c:pt>
                <c:pt idx="8">
                  <c:v>0.77302510491055</c:v>
                </c:pt>
                <c:pt idx="9">
                  <c:v>0.5877935654862696</c:v>
                </c:pt>
                <c:pt idx="10">
                  <c:v>0.3733670923234992</c:v>
                </c:pt>
                <c:pt idx="11">
                  <c:v>0.5867324561403509</c:v>
                </c:pt>
                <c:pt idx="12">
                  <c:v>0.5830700271878904</c:v>
                </c:pt>
                <c:pt idx="13">
                  <c:v>0.2872430094916994</c:v>
                </c:pt>
                <c:pt idx="14">
                  <c:v>0.39589131390068844</c:v>
                </c:pt>
                <c:pt idx="15">
                  <c:v>0.2876712328767123</c:v>
                </c:pt>
                <c:pt idx="16">
                  <c:v>0.35262405105072064</c:v>
                </c:pt>
                <c:pt idx="17">
                  <c:v>0.7360518180479906</c:v>
                </c:pt>
                <c:pt idx="18">
                  <c:v>0.5738387379491674</c:v>
                </c:pt>
                <c:pt idx="19">
                  <c:v>0.3184713375796178</c:v>
                </c:pt>
                <c:pt idx="20">
                  <c:v>0.705439116280771</c:v>
                </c:pt>
                <c:pt idx="21">
                  <c:v>0.3684734146431335</c:v>
                </c:pt>
                <c:pt idx="22">
                  <c:v>0.5671002124249991</c:v>
                </c:pt>
                <c:pt idx="23">
                  <c:v>1.1581412639405206</c:v>
                </c:pt>
                <c:pt idx="24">
                  <c:v>0.3989128006552982</c:v>
                </c:pt>
                <c:pt idx="25">
                  <c:v>1.029422774575129</c:v>
                </c:pt>
                <c:pt idx="26">
                  <c:v>0.9357338024478796</c:v>
                </c:pt>
                <c:pt idx="27">
                  <c:v>0.8688512381307019</c:v>
                </c:pt>
                <c:pt idx="28">
                  <c:v>0.5409842181845316</c:v>
                </c:pt>
                <c:pt idx="29">
                  <c:v>0.7680753278780407</c:v>
                </c:pt>
                <c:pt idx="30">
                  <c:v>1.4059688062387523</c:v>
                </c:pt>
                <c:pt idx="31">
                  <c:v>0.8951549443549294</c:v>
                </c:pt>
                <c:pt idx="32">
                  <c:v>0.7098839837275879</c:v>
                </c:pt>
                <c:pt idx="33">
                  <c:v>0.3769601930036188</c:v>
                </c:pt>
                <c:pt idx="34">
                  <c:v>0.18625442354255914</c:v>
                </c:pt>
                <c:pt idx="35">
                  <c:v>0.48429758223745484</c:v>
                </c:pt>
                <c:pt idx="36">
                  <c:v>0.9818181818181819</c:v>
                </c:pt>
                <c:pt idx="37">
                  <c:v>1.4485860282794343</c:v>
                </c:pt>
                <c:pt idx="38">
                  <c:v>2.056459151243223</c:v>
                </c:pt>
                <c:pt idx="39">
                  <c:v>2.1620650529500756</c:v>
                </c:pt>
                <c:pt idx="40">
                  <c:v>2.2208216440567234</c:v>
                </c:pt>
                <c:pt idx="41">
                  <c:v>2.2523040567152424</c:v>
                </c:pt>
                <c:pt idx="42">
                  <c:v>2.2182981749229675</c:v>
                </c:pt>
                <c:pt idx="43">
                  <c:v>2.197727631371311</c:v>
                </c:pt>
                <c:pt idx="44">
                  <c:v>2.2508689030343265</c:v>
                </c:pt>
                <c:pt idx="45">
                  <c:v>2.2152665748573677</c:v>
                </c:pt>
                <c:pt idx="46">
                  <c:v>2.2515301318267418</c:v>
                </c:pt>
                <c:pt idx="47">
                  <c:v>2.264425350780388</c:v>
                </c:pt>
                <c:pt idx="48">
                  <c:v>2.1963175702258244</c:v>
                </c:pt>
                <c:pt idx="49">
                  <c:v>2.2256591892955533</c:v>
                </c:pt>
                <c:pt idx="50">
                  <c:v>2.1949439974759426</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1.953515404973302</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1.953515404973302</c:v>
                </c:pt>
                <c:pt idx="1">
                  <c:v>11.953515404973302</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361293230541391</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361293230541391</c:v>
                </c:pt>
                <c:pt idx="1">
                  <c:v>2.361293230541391</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361293230541391</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361293230541391</c:v>
                </c:pt>
                <c:pt idx="1">
                  <c:v>2.361293230541391</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4838958180484226</c:v>
                </c:pt>
                <c:pt idx="1">
                  <c:v>0.43357933579335795</c:v>
                </c:pt>
                <c:pt idx="2">
                  <c:v>0.4590788111784711</c:v>
                </c:pt>
                <c:pt idx="3">
                  <c:v>0.3916158818097876</c:v>
                </c:pt>
                <c:pt idx="4">
                  <c:v>0.5074362475550799</c:v>
                </c:pt>
                <c:pt idx="5">
                  <c:v>0.6430371303638924</c:v>
                </c:pt>
                <c:pt idx="6">
                  <c:v>0.5178089285053815</c:v>
                </c:pt>
                <c:pt idx="7">
                  <c:v>0.32796253963572003</c:v>
                </c:pt>
                <c:pt idx="8">
                  <c:v>0.77302510491055</c:v>
                </c:pt>
                <c:pt idx="9">
                  <c:v>0.5877935654862696</c:v>
                </c:pt>
                <c:pt idx="10">
                  <c:v>0.3733670923234992</c:v>
                </c:pt>
                <c:pt idx="11">
                  <c:v>0.5867324561403509</c:v>
                </c:pt>
                <c:pt idx="12">
                  <c:v>0.5830700271878904</c:v>
                </c:pt>
                <c:pt idx="13">
                  <c:v>0.2872430094916994</c:v>
                </c:pt>
                <c:pt idx="14">
                  <c:v>0.39589131390068844</c:v>
                </c:pt>
                <c:pt idx="15">
                  <c:v>0.2876712328767123</c:v>
                </c:pt>
                <c:pt idx="16">
                  <c:v>0.35262405105072064</c:v>
                </c:pt>
                <c:pt idx="17">
                  <c:v>0.7360518180479906</c:v>
                </c:pt>
                <c:pt idx="18">
                  <c:v>0.5738387379491674</c:v>
                </c:pt>
                <c:pt idx="19">
                  <c:v>0.3184713375796178</c:v>
                </c:pt>
                <c:pt idx="20">
                  <c:v>0.705439116280771</c:v>
                </c:pt>
                <c:pt idx="21">
                  <c:v>0.3684734146431335</c:v>
                </c:pt>
                <c:pt idx="22">
                  <c:v>0.5671002124249991</c:v>
                </c:pt>
                <c:pt idx="23">
                  <c:v>1.1581412639405206</c:v>
                </c:pt>
                <c:pt idx="24">
                  <c:v>0.3989128006552982</c:v>
                </c:pt>
                <c:pt idx="25">
                  <c:v>1.029422774575129</c:v>
                </c:pt>
                <c:pt idx="26">
                  <c:v>0.9357338024478796</c:v>
                </c:pt>
                <c:pt idx="27">
                  <c:v>0.8688512381307019</c:v>
                </c:pt>
                <c:pt idx="28">
                  <c:v>0.5409842181845316</c:v>
                </c:pt>
                <c:pt idx="29">
                  <c:v>0.7680753278780407</c:v>
                </c:pt>
                <c:pt idx="30">
                  <c:v>1.4059688062387523</c:v>
                </c:pt>
                <c:pt idx="31">
                  <c:v>0.8951549443549294</c:v>
                </c:pt>
                <c:pt idx="32">
                  <c:v>0.7098839837275879</c:v>
                </c:pt>
                <c:pt idx="33">
                  <c:v>0.3769601930036188</c:v>
                </c:pt>
                <c:pt idx="34">
                  <c:v>0.18625442354255914</c:v>
                </c:pt>
                <c:pt idx="35">
                  <c:v>0.48429758223745484</c:v>
                </c:pt>
                <c:pt idx="36">
                  <c:v>0.9818181818181819</c:v>
                </c:pt>
                <c:pt idx="37">
                  <c:v>1.4485860282794343</c:v>
                </c:pt>
                <c:pt idx="38">
                  <c:v>2.056459151243223</c:v>
                </c:pt>
                <c:pt idx="39">
                  <c:v>2.1620650529500756</c:v>
                </c:pt>
                <c:pt idx="40">
                  <c:v>2.2208216440567234</c:v>
                </c:pt>
                <c:pt idx="41">
                  <c:v>2.2523040567152424</c:v>
                </c:pt>
                <c:pt idx="42">
                  <c:v>2.2182981749229675</c:v>
                </c:pt>
                <c:pt idx="43">
                  <c:v>2.197727631371311</c:v>
                </c:pt>
                <c:pt idx="44">
                  <c:v>2.2508689030343265</c:v>
                </c:pt>
                <c:pt idx="45">
                  <c:v>2.2152665748573677</c:v>
                </c:pt>
                <c:pt idx="46">
                  <c:v>2.2515301318267418</c:v>
                </c:pt>
                <c:pt idx="47">
                  <c:v>2.264425350780388</c:v>
                </c:pt>
                <c:pt idx="48">
                  <c:v>2.1963175702258244</c:v>
                </c:pt>
                <c:pt idx="49">
                  <c:v>2.2256591892955533</c:v>
                </c:pt>
                <c:pt idx="50">
                  <c:v>2.1949439974759426</c:v>
                </c:pt>
                <c:pt idx="51">
                  <c:v>2.361293230541391</c:v>
                </c:pt>
                <c:pt idx="52">
                  <c:v>11.953515404973302</c:v>
                </c:pt>
                <c:pt idx="53">
                  <c:v>2.361293230541391</c:v>
                </c:pt>
              </c:numCache>
            </c:numRef>
          </c:xVal>
          <c:yVal>
            <c:numRef>
              <c:f>Sheet1!$B$146:$B$199</c:f>
              <c:numCache>
                <c:formatCode>General</c:formatCode>
                <c:ptCount val="54"/>
                <c:pt idx="0">
                  <c:v>-5.869516192365593e-06</c:v>
                </c:pt>
                <c:pt idx="1">
                  <c:v>-1.5147418751002077e-05</c:v>
                </c:pt>
                <c:pt idx="2">
                  <c:v>-1.0445546972284549e-05</c:v>
                </c:pt>
                <c:pt idx="3">
                  <c:v>-2.2885098724530092e-05</c:v>
                </c:pt>
                <c:pt idx="4">
                  <c:v>-1.5288746895658975e-06</c:v>
                </c:pt>
                <c:pt idx="5">
                  <c:v>2.34746971258826e-05</c:v>
                </c:pt>
                <c:pt idx="6">
                  <c:v>3.837535152612949e-07</c:v>
                </c:pt>
                <c:pt idx="7">
                  <c:v>-3.462219718123116e-05</c:v>
                </c:pt>
                <c:pt idx="8">
                  <c:v>4.7443299611343845e-05</c:v>
                </c:pt>
                <c:pt idx="9">
                  <c:v>1.3288285259327538e-05</c:v>
                </c:pt>
                <c:pt idx="10">
                  <c:v>-2.6250009844679245e-05</c:v>
                </c:pt>
                <c:pt idx="11">
                  <c:v>1.3092626328610032e-05</c:v>
                </c:pt>
                <c:pt idx="12">
                  <c:v>1.2417307677027668e-05</c:v>
                </c:pt>
                <c:pt idx="13">
                  <c:v>-4.213050889099219e-05</c:v>
                </c:pt>
                <c:pt idx="14">
                  <c:v>-2.2096747859015194e-05</c:v>
                </c:pt>
                <c:pt idx="15">
                  <c:v>-4.2051548386175114e-05</c:v>
                </c:pt>
                <c:pt idx="16">
                  <c:v>-3.007483835162923e-05</c:v>
                </c:pt>
                <c:pt idx="17">
                  <c:v>4.062576115457281e-05</c:v>
                </c:pt>
                <c:pt idx="18">
                  <c:v>1.0715141742348471e-05</c:v>
                </c:pt>
                <c:pt idx="19">
                  <c:v>-3.637228867996631e-05</c:v>
                </c:pt>
                <c:pt idx="20">
                  <c:v>3.49810568484749e-05</c:v>
                </c:pt>
                <c:pt idx="21">
                  <c:v>-2.715235958450505e-05</c:v>
                </c:pt>
                <c:pt idx="22">
                  <c:v>9.472618807513823e-06</c:v>
                </c:pt>
                <c:pt idx="23">
                  <c:v>0.0001184552232812815</c:v>
                </c:pt>
                <c:pt idx="24">
                  <c:v>-2.153961313029202e-05</c:v>
                </c:pt>
                <c:pt idx="25">
                  <c:v>9.47207023389558e-05</c:v>
                </c:pt>
                <c:pt idx="26">
                  <c:v>7.744530638005138e-05</c:v>
                </c:pt>
                <c:pt idx="27">
                  <c:v>6.511276867479371e-05</c:v>
                </c:pt>
                <c:pt idx="28">
                  <c:v>4.657066548580224e-06</c:v>
                </c:pt>
                <c:pt idx="29">
                  <c:v>4.6530605660248425e-05</c:v>
                </c:pt>
                <c:pt idx="30">
                  <c:v>0.00016415237232150315</c:v>
                </c:pt>
                <c:pt idx="31">
                  <c:v>6.996293331949754e-05</c:v>
                </c:pt>
                <c:pt idx="32">
                  <c:v>3.580065005549946e-05</c:v>
                </c:pt>
                <c:pt idx="33">
                  <c:v>-2.5587474697159765e-05</c:v>
                </c:pt>
                <c:pt idx="34">
                  <c:v>-6.0751887373314425e-05</c:v>
                </c:pt>
                <c:pt idx="35">
                  <c:v>-5.795434523092781e-06</c:v>
                </c:pt>
                <c:pt idx="36">
                  <c:v>8.594284758544567e-05</c:v>
                </c:pt>
                <c:pt idx="37">
                  <c:v>0.00017201060118990586</c:v>
                </c:pt>
                <c:pt idx="38">
                  <c:v>0.00028409688683847013</c:v>
                </c:pt>
                <c:pt idx="39">
                  <c:v>0.00030356965643087337</c:v>
                </c:pt>
                <c:pt idx="40">
                  <c:v>0.00031440383844307586</c:v>
                </c:pt>
                <c:pt idx="41">
                  <c:v>0.00032020890954236004</c:v>
                </c:pt>
                <c:pt idx="42">
                  <c:v>0.0003139385336426721</c:v>
                </c:pt>
                <c:pt idx="43">
                  <c:v>0.00031014551214957585</c:v>
                </c:pt>
                <c:pt idx="44">
                  <c:v>0.0003199442802318151</c:v>
                </c:pt>
                <c:pt idx="45">
                  <c:v>0.00031337953411121014</c:v>
                </c:pt>
                <c:pt idx="46">
                  <c:v>0.0003200662048185518</c:v>
                </c:pt>
                <c:pt idx="47">
                  <c:v>0.0003224439661317877</c:v>
                </c:pt>
                <c:pt idx="48">
                  <c:v>0.00030988550967477583</c:v>
                </c:pt>
                <c:pt idx="49">
                  <c:v>0.0003152958378702485</c:v>
                </c:pt>
                <c:pt idx="50">
                  <c:v>0.00030963223532888654</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31.09320323951481</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1.09320323951481</c:v>
                </c:pt>
                <c:pt idx="1">
                  <c:v>31.09320323951481</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7322231028945</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7322231028945</c:v>
                </c:pt>
                <c:pt idx="1">
                  <c:v>6.167322231028945</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7322231028945</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7322231028945</c:v>
                </c:pt>
                <c:pt idx="1">
                  <c:v>6.167322231028945</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7322231028945</c:v>
                </c:pt>
                <c:pt idx="52">
                  <c:v>31.09320323951481</c:v>
                </c:pt>
                <c:pt idx="53">
                  <c:v>6.167322231028945</c:v>
                </c:pt>
              </c:numCache>
            </c:numRef>
          </c:xVal>
          <c:yVal>
            <c:numRef>
              <c:f>Sheet1!$B$146:$B$199</c:f>
              <c:numCache>
                <c:formatCode>General</c:formatCode>
                <c:ptCount val="54"/>
                <c:pt idx="0">
                  <c:v>-3.720080656917585e-06</c:v>
                </c:pt>
                <c:pt idx="1">
                  <c:v>-1.3945290484353439e-05</c:v>
                </c:pt>
                <c:pt idx="2">
                  <c:v>-9.198125061345397e-06</c:v>
                </c:pt>
                <c:pt idx="3">
                  <c:v>-2.2084302054144528e-05</c:v>
                </c:pt>
                <c:pt idx="4">
                  <c:v>2.4653439758392105e-07</c:v>
                </c:pt>
                <c:pt idx="5">
                  <c:v>2.5813106922394067e-05</c:v>
                </c:pt>
                <c:pt idx="6">
                  <c:v>2.020512507826079e-06</c:v>
                </c:pt>
                <c:pt idx="7">
                  <c:v>-3.4204120503319034e-05</c:v>
                </c:pt>
                <c:pt idx="8">
                  <c:v>5.169189959460686e-05</c:v>
                </c:pt>
                <c:pt idx="9">
                  <c:v>1.5985268191652443e-05</c:v>
                </c:pt>
                <c:pt idx="10">
                  <c:v>-2.5121352578879116e-05</c:v>
                </c:pt>
                <c:pt idx="11">
                  <c:v>1.658842074913479e-05</c:v>
                </c:pt>
                <c:pt idx="12">
                  <c:v>1.5289868772437517e-05</c:v>
                </c:pt>
                <c:pt idx="13">
                  <c:v>-4.1704499953422926e-05</c:v>
                </c:pt>
                <c:pt idx="14">
                  <c:v>-2.060835226642304e-05</c:v>
                </c:pt>
                <c:pt idx="15">
                  <c:v>-4.144195119310709e-05</c:v>
                </c:pt>
                <c:pt idx="16">
                  <c:v>-2.9095063545821578e-05</c:v>
                </c:pt>
                <c:pt idx="17">
                  <c:v>4.459598715363817e-05</c:v>
                </c:pt>
                <c:pt idx="18">
                  <c:v>1.4182906431646397e-05</c:v>
                </c:pt>
                <c:pt idx="19">
                  <c:v>-3.5233027807259485e-05</c:v>
                </c:pt>
                <c:pt idx="20">
                  <c:v>3.952950567078654e-05</c:v>
                </c:pt>
                <c:pt idx="21">
                  <c:v>-2.636313725604864e-05</c:v>
                </c:pt>
                <c:pt idx="22">
                  <c:v>1.0656237948484973e-05</c:v>
                </c:pt>
                <c:pt idx="23">
                  <c:v>0.00012374379452020288</c:v>
                </c:pt>
                <c:pt idx="24">
                  <c:v>-2.129665577319701e-05</c:v>
                </c:pt>
                <c:pt idx="25">
                  <c:v>9.78153304609033e-05</c:v>
                </c:pt>
                <c:pt idx="26">
                  <c:v>8.007554935848158e-05</c:v>
                </c:pt>
                <c:pt idx="27">
                  <c:v>6.824666331938679e-05</c:v>
                </c:pt>
                <c:pt idx="28">
                  <c:v>5.5684687283104225e-06</c:v>
                </c:pt>
                <c:pt idx="29">
                  <c:v>4.854131447081676e-05</c:v>
                </c:pt>
                <c:pt idx="30">
                  <c:v>0.0001687744548705901</c:v>
                </c:pt>
                <c:pt idx="31">
                  <c:v>7.219199063656537e-05</c:v>
                </c:pt>
                <c:pt idx="32">
                  <c:v>3.6407304196760316e-05</c:v>
                </c:pt>
                <c:pt idx="33">
                  <c:v>-2.636313725604864e-05</c:v>
                </c:pt>
                <c:pt idx="34">
                  <c:v>-6.184269946089205e-05</c:v>
                </c:pt>
                <c:pt idx="35">
                  <c:v>-5.075399933142594e-06</c:v>
                </c:pt>
                <c:pt idx="36">
                  <c:v>9.426737424041895e-05</c:v>
                </c:pt>
                <c:pt idx="37">
                  <c:v>0.00019637045835351727</c:v>
                </c:pt>
                <c:pt idx="38">
                  <c:v>0.00029295292258754203</c:v>
                </c:pt>
                <c:pt idx="39">
                  <c:v>0.0003083155730222392</c:v>
                </c:pt>
                <c:pt idx="40">
                  <c:v>0.00031273632647296274</c:v>
                </c:pt>
                <c:pt idx="41">
                  <c:v>0.00030846458718349957</c:v>
                </c:pt>
                <c:pt idx="42">
                  <c:v>0.0003011416055444199</c:v>
                </c:pt>
                <c:pt idx="43">
                  <c:v>0.0002979768285957478</c:v>
                </c:pt>
                <c:pt idx="44">
                  <c:v>0.0003116719396068174</c:v>
                </c:pt>
                <c:pt idx="45">
                  <c:v>0.0003021847046732422</c:v>
                </c:pt>
                <c:pt idx="46">
                  <c:v>0.0003098908655841342</c:v>
                </c:pt>
                <c:pt idx="47">
                  <c:v>0.0003103591958052382</c:v>
                </c:pt>
                <c:pt idx="48">
                  <c:v>0.0002988141462637822</c:v>
                </c:pt>
                <c:pt idx="49">
                  <c:v>0.00030397997052080734</c:v>
                </c:pt>
                <c:pt idx="50">
                  <c:v>0.0002976007452363765</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877501516070345</c:v>
                </c:pt>
                <c:pt idx="1">
                  <c:v>7.146649514676647</c:v>
                </c:pt>
                <c:pt idx="2">
                  <c:v>7.7928123217341705</c:v>
                </c:pt>
                <c:pt idx="3">
                  <c:v>8.091244136698682</c:v>
                </c:pt>
                <c:pt idx="4">
                  <c:v>8.050032772558444</c:v>
                </c:pt>
                <c:pt idx="5">
                  <c:v>7.649128576126274</c:v>
                </c:pt>
                <c:pt idx="6">
                  <c:v>7.115359897172237</c:v>
                </c:pt>
                <c:pt idx="7">
                  <c:v>6.625725538971808</c:v>
                </c:pt>
                <c:pt idx="8">
                  <c:v>6.814978881219739</c:v>
                </c:pt>
                <c:pt idx="9">
                  <c:v>6.658904837852206</c:v>
                </c:pt>
                <c:pt idx="10">
                  <c:v>6.713570981863664</c:v>
                </c:pt>
                <c:pt idx="11">
                  <c:v>6.3614729213593195</c:v>
                </c:pt>
                <c:pt idx="12">
                  <c:v>6.968245650806958</c:v>
                </c:pt>
                <c:pt idx="13">
                  <c:v>6.725550435227854</c:v>
                </c:pt>
                <c:pt idx="14">
                  <c:v>6.354900190590832</c:v>
                </c:pt>
                <c:pt idx="15">
                  <c:v>6.341708542713568</c:v>
                </c:pt>
                <c:pt idx="16">
                  <c:v>6.356331087197023</c:v>
                </c:pt>
                <c:pt idx="17">
                  <c:v>6.629721362229103</c:v>
                </c:pt>
                <c:pt idx="18">
                  <c:v>6.237442021119115</c:v>
                </c:pt>
                <c:pt idx="19">
                  <c:v>6.6168759417378205</c:v>
                </c:pt>
                <c:pt idx="20">
                  <c:v>6.376545712548145</c:v>
                </c:pt>
                <c:pt idx="21">
                  <c:v>6.358241082410824</c:v>
                </c:pt>
                <c:pt idx="22">
                  <c:v>6.250463058242437</c:v>
                </c:pt>
                <c:pt idx="23">
                  <c:v>6.323709447051622</c:v>
                </c:pt>
                <c:pt idx="24">
                  <c:v>6.397333333333333</c:v>
                </c:pt>
                <c:pt idx="25">
                  <c:v>6.41908405057911</c:v>
                </c:pt>
                <c:pt idx="26">
                  <c:v>6.574175529057902</c:v>
                </c:pt>
                <c:pt idx="27">
                  <c:v>6.57260600802516</c:v>
                </c:pt>
                <c:pt idx="28">
                  <c:v>6.314949958298581</c:v>
                </c:pt>
                <c:pt idx="29">
                  <c:v>6.129363449691992</c:v>
                </c:pt>
                <c:pt idx="30">
                  <c:v>6.230148753404568</c:v>
                </c:pt>
                <c:pt idx="31">
                  <c:v>6.1680222382374135</c:v>
                </c:pt>
                <c:pt idx="32">
                  <c:v>5.916943856466082</c:v>
                </c:pt>
                <c:pt idx="33">
                  <c:v>6.141526811297585</c:v>
                </c:pt>
                <c:pt idx="34">
                  <c:v>6.215314475183919</c:v>
                </c:pt>
                <c:pt idx="35">
                  <c:v>6.133145068507479</c:v>
                </c:pt>
                <c:pt idx="36">
                  <c:v>5.855502689284237</c:v>
                </c:pt>
                <c:pt idx="37">
                  <c:v>5.892864403334011</c:v>
                </c:pt>
                <c:pt idx="38">
                  <c:v>5.850536663657338</c:v>
                </c:pt>
                <c:pt idx="39">
                  <c:v>5.7887381413852905</c:v>
                </c:pt>
                <c:pt idx="40">
                  <c:v>6.2145949288806435</c:v>
                </c:pt>
                <c:pt idx="41">
                  <c:v>6.4688118296365715</c:v>
                </c:pt>
                <c:pt idx="42">
                  <c:v>6.733909702209415</c:v>
                </c:pt>
                <c:pt idx="43">
                  <c:v>6.760090899253327</c:v>
                </c:pt>
                <c:pt idx="44">
                  <c:v>6.988737275286983</c:v>
                </c:pt>
                <c:pt idx="45">
                  <c:v>7.038590785907859</c:v>
                </c:pt>
                <c:pt idx="46">
                  <c:v>7.323692636072572</c:v>
                </c:pt>
                <c:pt idx="47">
                  <c:v>7.518510356985457</c:v>
                </c:pt>
                <c:pt idx="48">
                  <c:v>7.631009615384616</c:v>
                </c:pt>
                <c:pt idx="49">
                  <c:v>7.659076051427326</c:v>
                </c:pt>
                <c:pt idx="50">
                  <c:v>7.61166384419983</c:v>
                </c:pt>
                <c:pt idx="51">
                  <c:v>5.845918231455587</c:v>
                </c:pt>
                <c:pt idx="52">
                  <c:v>2.797976465412955</c:v>
                </c:pt>
                <c:pt idx="53">
                  <c:v>1.7347564437379357</c:v>
                </c:pt>
                <c:pt idx="54">
                  <c:v>1.1330666385935362</c:v>
                </c:pt>
                <c:pt idx="55">
                  <c:v>1.044423240033927</c:v>
                </c:pt>
                <c:pt idx="56">
                  <c:v>0.9831156419241797</c:v>
                </c:pt>
                <c:pt idx="57">
                  <c:v>1.1183063511830633</c:v>
                </c:pt>
                <c:pt idx="58">
                  <c:v>1.0574912891986064</c:v>
                </c:pt>
                <c:pt idx="59">
                  <c:v>1.0734480639213277</c:v>
                </c:pt>
                <c:pt idx="60">
                  <c:v>1.1553760099440646</c:v>
                </c:pt>
                <c:pt idx="61">
                  <c:v>1.3834986945169712</c:v>
                </c:pt>
                <c:pt idx="62">
                  <c:v>1.2276270657935766</c:v>
                </c:pt>
                <c:pt idx="63">
                  <c:v>1.22088772845953</c:v>
                </c:pt>
                <c:pt idx="64">
                  <c:v>1.2598945954324687</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1.3665181808764113</c:v>
                </c:pt>
                <c:pt idx="1">
                  <c:v>1.1925301938495891</c:v>
                </c:pt>
                <c:pt idx="2">
                  <c:v>1.248140703517588</c:v>
                </c:pt>
                <c:pt idx="3">
                  <c:v>1.0448364209696492</c:v>
                </c:pt>
                <c:pt idx="4">
                  <c:v>1.3932515959063736</c:v>
                </c:pt>
                <c:pt idx="5">
                  <c:v>1.8132706374085685</c:v>
                </c:pt>
                <c:pt idx="6">
                  <c:v>1.454243274124857</c:v>
                </c:pt>
                <c:pt idx="7">
                  <c:v>0.9156886967263742</c:v>
                </c:pt>
                <c:pt idx="8">
                  <c:v>2.150978182935573</c:v>
                </c:pt>
                <c:pt idx="9">
                  <c:v>1.6229291594674256</c:v>
                </c:pt>
                <c:pt idx="10">
                  <c:v>1.0398569238630557</c:v>
                </c:pt>
                <c:pt idx="11">
                  <c:v>1.6320658804392028</c:v>
                </c:pt>
                <c:pt idx="12">
                  <c:v>1.5983482727364287</c:v>
                </c:pt>
                <c:pt idx="13">
                  <c:v>0.7872639614302933</c:v>
                </c:pt>
                <c:pt idx="14">
                  <c:v>1.1014773306164034</c:v>
                </c:pt>
                <c:pt idx="15">
                  <c:v>0.7857713031331072</c:v>
                </c:pt>
                <c:pt idx="16">
                  <c:v>0.9833299243199018</c:v>
                </c:pt>
                <c:pt idx="17">
                  <c:v>2.0599443815016993</c:v>
                </c:pt>
                <c:pt idx="18">
                  <c:v>1.623179423613263</c:v>
                </c:pt>
                <c:pt idx="19">
                  <c:v>0.9006690684508492</c:v>
                </c:pt>
                <c:pt idx="20">
                  <c:v>1.9890676567656767</c:v>
                </c:pt>
                <c:pt idx="21">
                  <c:v>1.0327377878756583</c:v>
                </c:pt>
                <c:pt idx="22">
                  <c:v>1.597920823269978</c:v>
                </c:pt>
                <c:pt idx="23">
                  <c:v>3.241831425598335</c:v>
                </c:pt>
                <c:pt idx="24">
                  <c:v>1.102717167558666</c:v>
                </c:pt>
                <c:pt idx="25">
                  <c:v>2.8026905829596416</c:v>
                </c:pt>
                <c:pt idx="26">
                  <c:v>2.5802456393848696</c:v>
                </c:pt>
                <c:pt idx="27">
                  <c:v>2.383350357507661</c:v>
                </c:pt>
                <c:pt idx="28">
                  <c:v>1.4761274559706812</c:v>
                </c:pt>
                <c:pt idx="29">
                  <c:v>2.1135101789019126</c:v>
                </c:pt>
                <c:pt idx="30">
                  <c:v>3.9131795888552645</c:v>
                </c:pt>
                <c:pt idx="31">
                  <c:v>2.481200664727877</c:v>
                </c:pt>
                <c:pt idx="32">
                  <c:v>1.9610822060353799</c:v>
                </c:pt>
                <c:pt idx="33">
                  <c:v>1.0409076714895389</c:v>
                </c:pt>
                <c:pt idx="34">
                  <c:v>0.512610211195407</c:v>
                </c:pt>
                <c:pt idx="35">
                  <c:v>1.3772645407352475</c:v>
                </c:pt>
                <c:pt idx="36">
                  <c:v>2.8183716075156577</c:v>
                </c:pt>
                <c:pt idx="37">
                  <c:v>5.204199673079341</c:v>
                </c:pt>
                <c:pt idx="38">
                  <c:v>5.889912186763762</c:v>
                </c:pt>
                <c:pt idx="39">
                  <c:v>5.840314671025745</c:v>
                </c:pt>
                <c:pt idx="40">
                  <c:v>5.715359509445158</c:v>
                </c:pt>
                <c:pt idx="41">
                  <c:v>5.390837104072399</c:v>
                </c:pt>
                <c:pt idx="42">
                  <c:v>5.411390575310783</c:v>
                </c:pt>
                <c:pt idx="43">
                  <c:v>5.387099893627309</c:v>
                </c:pt>
                <c:pt idx="44">
                  <c:v>5.329942666913261</c:v>
                </c:pt>
                <c:pt idx="45">
                  <c:v>5.157186040120912</c:v>
                </c:pt>
                <c:pt idx="46">
                  <c:v>5.211788211788211</c:v>
                </c:pt>
                <c:pt idx="47">
                  <c:v>5.368435806391329</c:v>
                </c:pt>
                <c:pt idx="48">
                  <c:v>5.190701999070201</c:v>
                </c:pt>
                <c:pt idx="49">
                  <c:v>5.227285331361493</c:v>
                </c:pt>
                <c:pt idx="50">
                  <c:v>5.180582705017221</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32.125585103317206</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2.125585103317206</c:v>
                </c:pt>
                <c:pt idx="1">
                  <c:v>32.125585103317206</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6.28533965533746</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6.28533965533746</c:v>
                </c:pt>
                <c:pt idx="1">
                  <c:v>6.28533965533746</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6.28533965533746</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6.28533965533746</c:v>
                </c:pt>
                <c:pt idx="1">
                  <c:v>6.28533965533746</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1.3665181808764113</c:v>
                </c:pt>
                <c:pt idx="1">
                  <c:v>1.1925301938495891</c:v>
                </c:pt>
                <c:pt idx="2">
                  <c:v>1.248140703517588</c:v>
                </c:pt>
                <c:pt idx="3">
                  <c:v>1.0448364209696492</c:v>
                </c:pt>
                <c:pt idx="4">
                  <c:v>1.3932515959063736</c:v>
                </c:pt>
                <c:pt idx="5">
                  <c:v>1.8132706374085685</c:v>
                </c:pt>
                <c:pt idx="6">
                  <c:v>1.454243274124857</c:v>
                </c:pt>
                <c:pt idx="7">
                  <c:v>0.9156886967263742</c:v>
                </c:pt>
                <c:pt idx="8">
                  <c:v>2.150978182935573</c:v>
                </c:pt>
                <c:pt idx="9">
                  <c:v>1.6229291594674256</c:v>
                </c:pt>
                <c:pt idx="10">
                  <c:v>1.0398569238630557</c:v>
                </c:pt>
                <c:pt idx="11">
                  <c:v>1.6320658804392028</c:v>
                </c:pt>
                <c:pt idx="12">
                  <c:v>1.5983482727364287</c:v>
                </c:pt>
                <c:pt idx="13">
                  <c:v>0.7872639614302933</c:v>
                </c:pt>
                <c:pt idx="14">
                  <c:v>1.1014773306164034</c:v>
                </c:pt>
                <c:pt idx="15">
                  <c:v>0.7857713031331072</c:v>
                </c:pt>
                <c:pt idx="16">
                  <c:v>0.9833299243199018</c:v>
                </c:pt>
                <c:pt idx="17">
                  <c:v>2.0599443815016993</c:v>
                </c:pt>
                <c:pt idx="18">
                  <c:v>1.623179423613263</c:v>
                </c:pt>
                <c:pt idx="19">
                  <c:v>0.9006690684508492</c:v>
                </c:pt>
                <c:pt idx="20">
                  <c:v>1.9890676567656767</c:v>
                </c:pt>
                <c:pt idx="21">
                  <c:v>1.0327377878756583</c:v>
                </c:pt>
                <c:pt idx="22">
                  <c:v>1.597920823269978</c:v>
                </c:pt>
                <c:pt idx="23">
                  <c:v>3.241831425598335</c:v>
                </c:pt>
                <c:pt idx="24">
                  <c:v>1.102717167558666</c:v>
                </c:pt>
                <c:pt idx="25">
                  <c:v>2.8026905829596416</c:v>
                </c:pt>
                <c:pt idx="26">
                  <c:v>2.5802456393848696</c:v>
                </c:pt>
                <c:pt idx="27">
                  <c:v>2.383350357507661</c:v>
                </c:pt>
                <c:pt idx="28">
                  <c:v>1.4761274559706812</c:v>
                </c:pt>
                <c:pt idx="29">
                  <c:v>2.1135101789019126</c:v>
                </c:pt>
                <c:pt idx="30">
                  <c:v>3.9131795888552645</c:v>
                </c:pt>
                <c:pt idx="31">
                  <c:v>2.481200664727877</c:v>
                </c:pt>
                <c:pt idx="32">
                  <c:v>1.9610822060353799</c:v>
                </c:pt>
                <c:pt idx="33">
                  <c:v>1.0409076714895389</c:v>
                </c:pt>
                <c:pt idx="34">
                  <c:v>0.512610211195407</c:v>
                </c:pt>
                <c:pt idx="35">
                  <c:v>1.3772645407352475</c:v>
                </c:pt>
                <c:pt idx="36">
                  <c:v>2.8183716075156577</c:v>
                </c:pt>
                <c:pt idx="37">
                  <c:v>5.204199673079341</c:v>
                </c:pt>
                <c:pt idx="38">
                  <c:v>5.889912186763762</c:v>
                </c:pt>
                <c:pt idx="39">
                  <c:v>5.840314671025745</c:v>
                </c:pt>
                <c:pt idx="40">
                  <c:v>5.715359509445158</c:v>
                </c:pt>
                <c:pt idx="41">
                  <c:v>5.390837104072399</c:v>
                </c:pt>
                <c:pt idx="42">
                  <c:v>5.411390575310783</c:v>
                </c:pt>
                <c:pt idx="43">
                  <c:v>5.387099893627309</c:v>
                </c:pt>
                <c:pt idx="44">
                  <c:v>5.329942666913261</c:v>
                </c:pt>
                <c:pt idx="45">
                  <c:v>5.157186040120912</c:v>
                </c:pt>
                <c:pt idx="46">
                  <c:v>5.211788211788211</c:v>
                </c:pt>
                <c:pt idx="47">
                  <c:v>5.368435806391329</c:v>
                </c:pt>
                <c:pt idx="48">
                  <c:v>5.190701999070201</c:v>
                </c:pt>
                <c:pt idx="49">
                  <c:v>5.227285331361493</c:v>
                </c:pt>
                <c:pt idx="50">
                  <c:v>5.180582705017221</c:v>
                </c:pt>
                <c:pt idx="51">
                  <c:v>6.28533965533746</c:v>
                </c:pt>
                <c:pt idx="52">
                  <c:v>32.125585103317206</c:v>
                </c:pt>
                <c:pt idx="53">
                  <c:v>6.28533965533746</c:v>
                </c:pt>
              </c:numCache>
            </c:numRef>
          </c:xVal>
          <c:yVal>
            <c:numRef>
              <c:f>Sheet1!$B$146:$B$199</c:f>
              <c:numCache>
                <c:formatCode>General</c:formatCode>
                <c:ptCount val="54"/>
                <c:pt idx="0">
                  <c:v>3.6209710335097537e-06</c:v>
                </c:pt>
                <c:pt idx="1">
                  <c:v>-8.28819621378674e-06</c:v>
                </c:pt>
                <c:pt idx="2">
                  <c:v>-4.481756058573604e-06</c:v>
                </c:pt>
                <c:pt idx="3">
                  <c:v>-1.8397571422204252e-05</c:v>
                </c:pt>
                <c:pt idx="4">
                  <c:v>5.450825589124148e-06</c:v>
                </c:pt>
                <c:pt idx="5">
                  <c:v>3.4200379496703286e-05</c:v>
                </c:pt>
                <c:pt idx="6">
                  <c:v>9.625597129444527e-06</c:v>
                </c:pt>
                <c:pt idx="7">
                  <c:v>-2.7237502695067264e-05</c:v>
                </c:pt>
                <c:pt idx="8">
                  <c:v>5.731585838166263e-05</c:v>
                </c:pt>
                <c:pt idx="9">
                  <c:v>2.1171844977540118e-05</c:v>
                </c:pt>
                <c:pt idx="10">
                  <c:v>-1.873840911372091e-05</c:v>
                </c:pt>
                <c:pt idx="11">
                  <c:v>2.1797237224465774e-05</c:v>
                </c:pt>
                <c:pt idx="12">
                  <c:v>1.9489327143011888e-05</c:v>
                </c:pt>
                <c:pt idx="13">
                  <c:v>-3.6027946664598503e-05</c:v>
                </c:pt>
                <c:pt idx="14">
                  <c:v>-1.4520602227094165e-05</c:v>
                </c:pt>
                <c:pt idx="15">
                  <c:v>-3.613011646153692e-05</c:v>
                </c:pt>
                <c:pt idx="16">
                  <c:v>-2.260758136550109e-05</c:v>
                </c:pt>
                <c:pt idx="17">
                  <c:v>5.108475711450416e-05</c:v>
                </c:pt>
                <c:pt idx="18">
                  <c:v>2.1188975111750596e-05</c:v>
                </c:pt>
                <c:pt idx="19">
                  <c:v>-2.826556944945691e-05</c:v>
                </c:pt>
                <c:pt idx="20">
                  <c:v>4.623337177896508e-05</c:v>
                </c:pt>
                <c:pt idx="21">
                  <c:v>-1.922570126865051e-05</c:v>
                </c:pt>
                <c:pt idx="22">
                  <c:v>1.946006898977546e-05</c:v>
                </c:pt>
                <c:pt idx="23">
                  <c:v>0.0001319828163201081</c:v>
                </c:pt>
                <c:pt idx="24">
                  <c:v>-1.4435737600765073e-05</c:v>
                </c:pt>
                <c:pt idx="25">
                  <c:v>0.00010192440924573534</c:v>
                </c:pt>
                <c:pt idx="26">
                  <c:v>8.669844978947131e-05</c:v>
                </c:pt>
                <c:pt idx="27">
                  <c:v>7.322131908551197e-05</c:v>
                </c:pt>
                <c:pt idx="28">
                  <c:v>1.1123530326591027e-05</c:v>
                </c:pt>
                <c:pt idx="29">
                  <c:v>5.4751240363578126e-05</c:v>
                </c:pt>
                <c:pt idx="30">
                  <c:v>0.00017793540013935494</c:v>
                </c:pt>
                <c:pt idx="31">
                  <c:v>7.991899801035204e-05</c:v>
                </c:pt>
                <c:pt idx="32">
                  <c:v>4.431781761379908e-05</c:v>
                </c:pt>
                <c:pt idx="33">
                  <c:v>-1.866648731364537e-05</c:v>
                </c:pt>
                <c:pt idx="34">
                  <c:v>-5.48275057751951e-05</c:v>
                </c:pt>
                <c:pt idx="35">
                  <c:v>4.3565401900100975e-06</c:v>
                </c:pt>
                <c:pt idx="36">
                  <c:v>0.00010299774739532707</c:v>
                </c:pt>
                <c:pt idx="37">
                  <c:v>0.00026630342120435575</c:v>
                </c:pt>
                <c:pt idx="38">
                  <c:v>0.00031323921917857415</c:v>
                </c:pt>
                <c:pt idx="39">
                  <c:v>0.00030984435772826377</c:v>
                </c:pt>
                <c:pt idx="40">
                  <c:v>0.00030129139988844026</c:v>
                </c:pt>
                <c:pt idx="41">
                  <c:v>0.00027907842031943506</c:v>
                </c:pt>
                <c:pt idx="42">
                  <c:v>0.0002804852687500264</c:v>
                </c:pt>
                <c:pt idx="43">
                  <c:v>0.0002788226149331583</c:v>
                </c:pt>
                <c:pt idx="44">
                  <c:v>0.0002749103047561096</c:v>
                </c:pt>
                <c:pt idx="45">
                  <c:v>0.00026308542191961993</c:v>
                </c:pt>
                <c:pt idx="46">
                  <c:v>0.00026682284313796656</c:v>
                </c:pt>
                <c:pt idx="47">
                  <c:v>0.00027754509146610913</c:v>
                </c:pt>
                <c:pt idx="48">
                  <c:v>0.00026537952950372043</c:v>
                </c:pt>
                <c:pt idx="49">
                  <c:v>0.0002678835933196508</c:v>
                </c:pt>
                <c:pt idx="50">
                  <c:v>0.00026468688188269283</c:v>
                </c:pt>
                <c:pt idx="51">
                  <c:v>0.00034030552380047473</c:v>
                </c:pt>
                <c:pt idx="52">
                  <c:v>0.002109024215302673</c:v>
                </c:pt>
                <c:pt idx="53">
                  <c:v>0.0003403055238004747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803487560271728</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803487560271728</c:v>
                </c:pt>
                <c:pt idx="1">
                  <c:v>-10.803487560271728</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5024712228992327</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5024712228992327</c:v>
                </c:pt>
                <c:pt idx="1">
                  <c:v>3.5024712228992327</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5024712228992327</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5024712228992327</c:v>
                </c:pt>
                <c:pt idx="1">
                  <c:v>3.5024712228992327</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5024712228992327</c:v>
                </c:pt>
                <c:pt idx="53">
                  <c:v>-10.803487560271728</c:v>
                </c:pt>
                <c:pt idx="54">
                  <c:v>3.5024712228992327</c:v>
                </c:pt>
              </c:numCache>
            </c:numRef>
          </c:xVal>
          <c:yVal>
            <c:numRef>
              <c:f>Sheet1!$B$147:$B$201</c:f>
              <c:numCache>
                <c:formatCode>General</c:formatCode>
                <c:ptCount val="55"/>
                <c:pt idx="0">
                  <c:v>0.0004490870603848956</c:v>
                </c:pt>
                <c:pt idx="1">
                  <c:v>0.0004364746802992534</c:v>
                </c:pt>
                <c:pt idx="2">
                  <c:v>0.00039936447837579333</c:v>
                </c:pt>
                <c:pt idx="3">
                  <c:v>0.00039769252020882074</c:v>
                </c:pt>
                <c:pt idx="4">
                  <c:v>0.00042862374629781624</c:v>
                </c:pt>
                <c:pt idx="5">
                  <c:v>0.0004281875832977363</c:v>
                </c:pt>
                <c:pt idx="6">
                  <c:v>0.00039569343979178797</c:v>
                </c:pt>
                <c:pt idx="7">
                  <c:v>0.0004740937390561397</c:v>
                </c:pt>
                <c:pt idx="8">
                  <c:v>0.0004663518458047223</c:v>
                </c:pt>
                <c:pt idx="9">
                  <c:v>0.0004779465122235116</c:v>
                </c:pt>
                <c:pt idx="10">
                  <c:v>0.0004989550300606908</c:v>
                </c:pt>
                <c:pt idx="11">
                  <c:v>0.0004759837787231525</c:v>
                </c:pt>
                <c:pt idx="12">
                  <c:v>0.0004759837787231525</c:v>
                </c:pt>
                <c:pt idx="13">
                  <c:v>0.0004498866925517083</c:v>
                </c:pt>
                <c:pt idx="14">
                  <c:v>0.000540426861984949</c:v>
                </c:pt>
                <c:pt idx="15">
                  <c:v>0.00047314871922263333</c:v>
                </c:pt>
                <c:pt idx="16">
                  <c:v>0.0005091321667292203</c:v>
                </c:pt>
                <c:pt idx="17">
                  <c:v>0.0005412991879851089</c:v>
                </c:pt>
                <c:pt idx="18">
                  <c:v>0.0005516217123203318</c:v>
                </c:pt>
                <c:pt idx="19">
                  <c:v>0.0005429347992354082</c:v>
                </c:pt>
                <c:pt idx="20">
                  <c:v>0.0005278508288159803</c:v>
                </c:pt>
                <c:pt idx="21">
                  <c:v>0.0005148749795636052</c:v>
                </c:pt>
                <c:pt idx="22">
                  <c:v>0.000507532902395594</c:v>
                </c:pt>
                <c:pt idx="23">
                  <c:v>0.0005865147523267189</c:v>
                </c:pt>
                <c:pt idx="24">
                  <c:v>0.0005237072803152218</c:v>
                </c:pt>
                <c:pt idx="25">
                  <c:v>0.0005466058378194134</c:v>
                </c:pt>
                <c:pt idx="26">
                  <c:v>0.0005449702265691143</c:v>
                </c:pt>
                <c:pt idx="27">
                  <c:v>0.0005994906015790945</c:v>
                </c:pt>
                <c:pt idx="28">
                  <c:v>0.0005599088093218487</c:v>
                </c:pt>
                <c:pt idx="29">
                  <c:v>0.0005777551454084488</c:v>
                </c:pt>
                <c:pt idx="30">
                  <c:v>0.0005866964869100857</c:v>
                </c:pt>
                <c:pt idx="31">
                  <c:v>0.0006180275290824876</c:v>
                </c:pt>
                <c:pt idx="32">
                  <c:v>0.0006478320007546104</c:v>
                </c:pt>
                <c:pt idx="33">
                  <c:v>0.0011233223646749855</c:v>
                </c:pt>
                <c:pt idx="34">
                  <c:v>0.0008404706591232075</c:v>
                </c:pt>
                <c:pt idx="35">
                  <c:v>0.0007227793429349966</c:v>
                </c:pt>
                <c:pt idx="36">
                  <c:v>0.000771084395193839</c:v>
                </c:pt>
                <c:pt idx="37">
                  <c:v>0.0008584623828765011</c:v>
                </c:pt>
                <c:pt idx="38">
                  <c:v>0.0007062414958486358</c:v>
                </c:pt>
                <c:pt idx="39">
                  <c:v>0.0005428257584853882</c:v>
                </c:pt>
                <c:pt idx="40">
                  <c:v>0.0007575996891080374</c:v>
                </c:pt>
                <c:pt idx="41">
                  <c:v>0.0007108575542661476</c:v>
                </c:pt>
                <c:pt idx="42">
                  <c:v>0.0005809900209923745</c:v>
                </c:pt>
                <c:pt idx="43">
                  <c:v>0.0005539479149874241</c:v>
                </c:pt>
                <c:pt idx="44">
                  <c:v>0.0005782640022418753</c:v>
                </c:pt>
                <c:pt idx="45">
                  <c:v>0.0006883951597620357</c:v>
                </c:pt>
                <c:pt idx="46">
                  <c:v>0.000716018816433759</c:v>
                </c:pt>
                <c:pt idx="47">
                  <c:v>0.0006943924010131336</c:v>
                </c:pt>
                <c:pt idx="48">
                  <c:v>0.0006481954699213434</c:v>
                </c:pt>
                <c:pt idx="49">
                  <c:v>0.0006401264544198663</c:v>
                </c:pt>
                <c:pt idx="50">
                  <c:v>0.0005861149362433127</c:v>
                </c:pt>
                <c:pt idx="51">
                  <c:v>0.0005873507314102053</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3.162275774883337e-05</c:v>
                </c:pt>
                <c:pt idx="1">
                  <c:v>6.2728617840936e-05</c:v>
                </c:pt>
                <c:pt idx="2">
                  <c:v>0.00014718413792173812</c:v>
                </c:pt>
                <c:pt idx="3">
                  <c:v>0.0002582718959277869</c:v>
                </c:pt>
                <c:pt idx="4">
                  <c:v>0.00027115478588197084</c:v>
                </c:pt>
                <c:pt idx="5">
                  <c:v>0.0003170113708833361</c:v>
                </c:pt>
                <c:pt idx="6">
                  <c:v>0.00030909257211216907</c:v>
                </c:pt>
                <c:pt idx="7">
                  <c:v>0.0003427783324097264</c:v>
                </c:pt>
                <c:pt idx="8">
                  <c:v>0.0003692764692825108</c:v>
                </c:pt>
                <c:pt idx="9">
                  <c:v>0.00033914689360267766</c:v>
                </c:pt>
                <c:pt idx="10">
                  <c:v>0.0003343633691249007</c:v>
                </c:pt>
                <c:pt idx="11">
                  <c:v>0.0003298685263746986</c:v>
                </c:pt>
                <c:pt idx="12">
                  <c:v>0.000363692527203392</c:v>
                </c:pt>
                <c:pt idx="13">
                  <c:v>0.0003995835563779521</c:v>
                </c:pt>
                <c:pt idx="14">
                  <c:v>0.0004600598336037</c:v>
                </c:pt>
                <c:pt idx="15">
                  <c:v>0.00041752290086346947</c:v>
                </c:pt>
                <c:pt idx="16">
                  <c:v>0.0004254130870155199</c:v>
                </c:pt>
                <c:pt idx="17">
                  <c:v>0.00042553565144442336</c:v>
                </c:pt>
                <c:pt idx="18">
                  <c:v>0.0004171129043278943</c:v>
                </c:pt>
                <c:pt idx="19">
                  <c:v>0.00040566304149324787</c:v>
                </c:pt>
                <c:pt idx="20">
                  <c:v>0.00043726500338880377</c:v>
                </c:pt>
                <c:pt idx="21">
                  <c:v>0.0004089479447466646</c:v>
                </c:pt>
                <c:pt idx="22">
                  <c:v>0.0004352129667902909</c:v>
                </c:pt>
                <c:pt idx="23">
                  <c:v>0.00044211975639785417</c:v>
                </c:pt>
                <c:pt idx="24">
                  <c:v>0.00047066439271985537</c:v>
                </c:pt>
                <c:pt idx="25">
                  <c:v>0.00043246573799562526</c:v>
                </c:pt>
                <c:pt idx="26">
                  <c:v>0.00044310529639122483</c:v>
                </c:pt>
                <c:pt idx="27">
                  <c:v>0.0004450323651257147</c:v>
                </c:pt>
                <c:pt idx="28">
                  <c:v>0.0004681993013345237</c:v>
                </c:pt>
                <c:pt idx="29">
                  <c:v>0.00045592043240083905</c:v>
                </c:pt>
                <c:pt idx="30">
                  <c:v>0.00044630652182826207</c:v>
                </c:pt>
                <c:pt idx="31">
                  <c:v>0.00044548093601680025</c:v>
                </c:pt>
                <c:pt idx="32">
                  <c:v>0.0004797042530519444</c:v>
                </c:pt>
                <c:pt idx="33">
                  <c:v>0.00046631397373785727</c:v>
                </c:pt>
                <c:pt idx="34">
                  <c:v>0.00044041148679459035</c:v>
                </c:pt>
                <c:pt idx="35">
                  <c:v>0.0004238652420450753</c:v>
                </c:pt>
                <c:pt idx="36">
                  <c:v>0.0004579916537670542</c:v>
                </c:pt>
                <c:pt idx="37">
                  <c:v>0.00045803144758106956</c:v>
                </c:pt>
                <c:pt idx="38">
                  <c:v>0.0004467935728052131</c:v>
                </c:pt>
                <c:pt idx="39">
                  <c:v>0.0004435664720300167</c:v>
                </c:pt>
                <c:pt idx="40">
                  <c:v>0.0005835308243845749</c:v>
                </c:pt>
                <c:pt idx="41">
                  <c:v>0.0006802400100053869</c:v>
                </c:pt>
                <c:pt idx="42">
                  <c:v>0.0006911758815771145</c:v>
                </c:pt>
                <c:pt idx="43">
                  <c:v>0.000713342631715268</c:v>
                </c:pt>
                <c:pt idx="44">
                  <c:v>0.0007701864722605173</c:v>
                </c:pt>
                <c:pt idx="45">
                  <c:v>0.0008803853985114651</c:v>
                </c:pt>
                <c:pt idx="46">
                  <c:v>0.0012932639119710143</c:v>
                </c:pt>
                <c:pt idx="47">
                  <c:v>0.00116359625004361</c:v>
                </c:pt>
                <c:pt idx="48">
                  <c:v>0.0014933592444207175</c:v>
                </c:pt>
                <c:pt idx="49">
                  <c:v>0.002148505580163306</c:v>
                </c:pt>
                <c:pt idx="50">
                  <c:v>0.0041218317350106655</c:v>
                </c:pt>
                <c:pt idx="51">
                  <c:v>0.014096561029338555</c:v>
                </c:pt>
                <c:pt idx="52">
                  <c:v>0.004698312117932937</c:v>
                </c:pt>
                <c:pt idx="53">
                  <c:v>0.0014848954869999059</c:v>
                </c:pt>
                <c:pt idx="54">
                  <c:v>0.0012437707813368049</c:v>
                </c:pt>
                <c:pt idx="55">
                  <c:v>0.0009291584914941229</c:v>
                </c:pt>
                <c:pt idx="56">
                  <c:v>0.0004408578527575217</c:v>
                </c:pt>
                <c:pt idx="57">
                  <c:v>0.00028749758589813367</c:v>
                </c:pt>
                <c:pt idx="58">
                  <c:v>0.00018091758318744447</c:v>
                </c:pt>
                <c:pt idx="59">
                  <c:v>0.00015711998352751222</c:v>
                </c:pt>
                <c:pt idx="60">
                  <c:v>0.00012808749361102045</c:v>
                </c:pt>
                <c:pt idx="61">
                  <c:v>6.153877712193396e-05</c:v>
                </c:pt>
                <c:pt idx="62">
                  <c:v>6.877285070901091e-05</c:v>
                </c:pt>
                <c:pt idx="63">
                  <c:v>7.828121295621172e-05</c:v>
                </c:pt>
                <c:pt idx="64">
                  <c:v>5.3611978531707444e-0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1.6756584758460068e-05</c:v>
                </c:pt>
                <c:pt idx="1">
                  <c:v>2.923257546663412e-05</c:v>
                </c:pt>
                <c:pt idx="2">
                  <c:v>2.2592953148592212e-05</c:v>
                </c:pt>
                <c:pt idx="3">
                  <c:v>2.1646976626490375e-05</c:v>
                </c:pt>
                <c:pt idx="4">
                  <c:v>2.2453761040058213e-05</c:v>
                </c:pt>
                <c:pt idx="5">
                  <c:v>1.2124406394411932e-05</c:v>
                </c:pt>
                <c:pt idx="6">
                  <c:v>1.47483108575221e-05</c:v>
                </c:pt>
                <c:pt idx="7">
                  <c:v>3.358207042655062e-05</c:v>
                </c:pt>
                <c:pt idx="8">
                  <c:v>9.050478136759965e-06</c:v>
                </c:pt>
                <c:pt idx="9">
                  <c:v>1.0348371241475739e-05</c:v>
                </c:pt>
                <c:pt idx="10">
                  <c:v>2.0088771222729493e-05</c:v>
                </c:pt>
                <c:pt idx="11">
                  <c:v>6.690884145756333e-06</c:v>
                </c:pt>
                <c:pt idx="12">
                  <c:v>8.214356123052483e-06</c:v>
                </c:pt>
                <c:pt idx="13">
                  <c:v>1.1999820327014563e-05</c:v>
                </c:pt>
                <c:pt idx="14">
                  <c:v>1.3092851851373485e-05</c:v>
                </c:pt>
                <c:pt idx="15">
                  <c:v>1.4198270686126107e-05</c:v>
                </c:pt>
                <c:pt idx="16">
                  <c:v>4.665958637353439e-06</c:v>
                </c:pt>
                <c:pt idx="17">
                  <c:v>3.0968338658740606e-06</c:v>
                </c:pt>
                <c:pt idx="18">
                  <c:v>4.818699859706995e-06</c:v>
                </c:pt>
                <c:pt idx="19">
                  <c:v>1.385839320592273e-06</c:v>
                </c:pt>
                <c:pt idx="20">
                  <c:v>4.923396348703767e-06</c:v>
                </c:pt>
                <c:pt idx="21">
                  <c:v>1.4229226796266464e-06</c:v>
                </c:pt>
                <c:pt idx="22">
                  <c:v>7.976470106791063e-06</c:v>
                </c:pt>
                <c:pt idx="23">
                  <c:v>4.8598403355532835e-06</c:v>
                </c:pt>
                <c:pt idx="24">
                  <c:v>2.6027587755730347e-06</c:v>
                </c:pt>
                <c:pt idx="25">
                  <c:v>5.34955113444874e-06</c:v>
                </c:pt>
                <c:pt idx="26">
                  <c:v>1.325681499716967e-06</c:v>
                </c:pt>
                <c:pt idx="27">
                  <c:v>2.1784091695051034e-06</c:v>
                </c:pt>
                <c:pt idx="28">
                  <c:v>3.595657524407773e-06</c:v>
                </c:pt>
                <c:pt idx="29">
                  <c:v>3.297228075310887e-06</c:v>
                </c:pt>
                <c:pt idx="30">
                  <c:v>7.2070007363753e-07</c:v>
                </c:pt>
                <c:pt idx="31">
                  <c:v>3.123819348138733e-06</c:v>
                </c:pt>
                <c:pt idx="32">
                  <c:v>4.666742531147814e-06</c:v>
                </c:pt>
                <c:pt idx="33">
                  <c:v>1.4388540965974698e-06</c:v>
                </c:pt>
                <c:pt idx="34">
                  <c:v>7.474555212577285e-07</c:v>
                </c:pt>
                <c:pt idx="35">
                  <c:v>6.414693239747236e-06</c:v>
                </c:pt>
                <c:pt idx="36">
                  <c:v>2.920330891011937e-06</c:v>
                </c:pt>
                <c:pt idx="37">
                  <c:v>5.0700719147450505e-06</c:v>
                </c:pt>
                <c:pt idx="38">
                  <c:v>1.3056291267206328e-05</c:v>
                </c:pt>
                <c:pt idx="39">
                  <c:v>3.937521679202802e-05</c:v>
                </c:pt>
                <c:pt idx="40">
                  <c:v>0.00017924877527699775</c:v>
                </c:pt>
                <c:pt idx="41">
                  <c:v>0.00033068034082724444</c:v>
                </c:pt>
                <c:pt idx="42">
                  <c:v>0.0003702231922664489</c:v>
                </c:pt>
                <c:pt idx="43">
                  <c:v>0.0004057329297438983</c:v>
                </c:pt>
                <c:pt idx="44">
                  <c:v>0.00044072668464277374</c:v>
                </c:pt>
                <c:pt idx="45">
                  <c:v>0.0004497112658687611</c:v>
                </c:pt>
                <c:pt idx="46">
                  <c:v>0.0004457929224782508</c:v>
                </c:pt>
                <c:pt idx="47">
                  <c:v>0.0004086203903769715</c:v>
                </c:pt>
                <c:pt idx="48">
                  <c:v>0.00044744357837475456</c:v>
                </c:pt>
                <c:pt idx="49">
                  <c:v>0.0004248895413071454</c:v>
                </c:pt>
                <c:pt idx="50">
                  <c:v>0.0004684706801836902</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31.09320323951481</c:v>
                </c:pt>
              </c:numCache>
            </c:numRef>
          </c:xVal>
          <c:yVal>
            <c:numRef>
              <c:f>Sheet1!$B$122:$B$123</c:f>
              <c:numCache>
                <c:formatCode>General</c:formatCode>
                <c:ptCount val="2"/>
                <c:pt idx="0">
                  <c:v>0.002109024215302673</c:v>
                </c:pt>
                <c:pt idx="1">
                  <c:v>0.002109024215302673</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31.09320323951481</c:v>
                </c:pt>
                <c:pt idx="1">
                  <c:v>31.09320323951481</c:v>
                </c:pt>
              </c:numCache>
            </c:numRef>
          </c:xVal>
          <c:yVal>
            <c:numRef>
              <c:f>Sheet1!$B$126:$B$127</c:f>
              <c:numCache>
                <c:formatCode>General</c:formatCode>
                <c:ptCount val="2"/>
                <c:pt idx="0">
                  <c:v>0.00210902421530267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7322231028945</c:v>
                </c:pt>
              </c:numCache>
            </c:numRef>
          </c:xVal>
          <c:yVal>
            <c:numRef>
              <c:f>Sheet1!$B$130:$B$131</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7322231028945</c:v>
                </c:pt>
                <c:pt idx="1">
                  <c:v>6.167322231028945</c:v>
                </c:pt>
              </c:numCache>
            </c:numRef>
          </c:xVal>
          <c:yVal>
            <c:numRef>
              <c:f>Sheet1!$B$134:$B$135</c:f>
              <c:numCache>
                <c:formatCode>General</c:formatCode>
                <c:ptCount val="2"/>
                <c:pt idx="0">
                  <c:v>0.00034030552380047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7322231028945</c:v>
                </c:pt>
              </c:numCache>
            </c:numRef>
          </c:xVal>
          <c:yVal>
            <c:numRef>
              <c:f>Sheet1!$B$138:$B$139</c:f>
              <c:numCache>
                <c:formatCode>General</c:formatCode>
                <c:ptCount val="2"/>
                <c:pt idx="0">
                  <c:v>0.0003403055238004747</c:v>
                </c:pt>
                <c:pt idx="1">
                  <c:v>0.0003403055238004747</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7322231028945</c:v>
                </c:pt>
                <c:pt idx="1">
                  <c:v>6.167322231028945</c:v>
                </c:pt>
              </c:numCache>
            </c:numRef>
          </c:xVal>
          <c:yVal>
            <c:numRef>
              <c:f>Sheet1!$B$142:$B$143</c:f>
              <c:numCache>
                <c:formatCode>General</c:formatCode>
                <c:ptCount val="2"/>
                <c:pt idx="0">
                  <c:v>0.000340305523800474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7322231028945</c:v>
                </c:pt>
                <c:pt idx="52">
                  <c:v>31.09320323951481</c:v>
                </c:pt>
                <c:pt idx="53">
                  <c:v>6.167322231028945</c:v>
                </c:pt>
              </c:numCache>
            </c:numRef>
          </c:xVal>
          <c:yVal>
            <c:numRef>
              <c:f>Sheet1!$B$146:$B$199</c:f>
              <c:numCache>
                <c:formatCode>General</c:formatCode>
                <c:ptCount val="54"/>
                <c:pt idx="0">
                  <c:v>-3.720080656917585e-06</c:v>
                </c:pt>
                <c:pt idx="1">
                  <c:v>-1.3945290484353439e-05</c:v>
                </c:pt>
                <c:pt idx="2">
                  <c:v>-9.198125061345397e-06</c:v>
                </c:pt>
                <c:pt idx="3">
                  <c:v>-2.2084302054144528e-05</c:v>
                </c:pt>
                <c:pt idx="4">
                  <c:v>2.4653439758392105e-07</c:v>
                </c:pt>
                <c:pt idx="5">
                  <c:v>2.5813106922394067e-05</c:v>
                </c:pt>
                <c:pt idx="6">
                  <c:v>2.020512507826079e-06</c:v>
                </c:pt>
                <c:pt idx="7">
                  <c:v>-3.4204120503319034e-05</c:v>
                </c:pt>
                <c:pt idx="8">
                  <c:v>5.169189959460686e-05</c:v>
                </c:pt>
                <c:pt idx="9">
                  <c:v>1.5985268191652443e-05</c:v>
                </c:pt>
                <c:pt idx="10">
                  <c:v>-2.5121352578879116e-05</c:v>
                </c:pt>
                <c:pt idx="11">
                  <c:v>1.658842074913479e-05</c:v>
                </c:pt>
                <c:pt idx="12">
                  <c:v>1.5289868772437517e-05</c:v>
                </c:pt>
                <c:pt idx="13">
                  <c:v>-4.1704499953422926e-05</c:v>
                </c:pt>
                <c:pt idx="14">
                  <c:v>-2.060835226642304e-05</c:v>
                </c:pt>
                <c:pt idx="15">
                  <c:v>-4.144195119310709e-05</c:v>
                </c:pt>
                <c:pt idx="16">
                  <c:v>-2.9095063545821578e-05</c:v>
                </c:pt>
                <c:pt idx="17">
                  <c:v>4.459598715363817e-05</c:v>
                </c:pt>
                <c:pt idx="18">
                  <c:v>1.4182906431646397e-05</c:v>
                </c:pt>
                <c:pt idx="19">
                  <c:v>-3.5233027807259485e-05</c:v>
                </c:pt>
                <c:pt idx="20">
                  <c:v>3.952950567078654e-05</c:v>
                </c:pt>
                <c:pt idx="21">
                  <c:v>-2.636313725604864e-05</c:v>
                </c:pt>
                <c:pt idx="22">
                  <c:v>1.0656237948484973e-05</c:v>
                </c:pt>
                <c:pt idx="23">
                  <c:v>0.00012374379452020288</c:v>
                </c:pt>
                <c:pt idx="24">
                  <c:v>-2.129665577319701e-05</c:v>
                </c:pt>
                <c:pt idx="25">
                  <c:v>9.78153304609033e-05</c:v>
                </c:pt>
                <c:pt idx="26">
                  <c:v>8.007554935848158e-05</c:v>
                </c:pt>
                <c:pt idx="27">
                  <c:v>6.824666331938679e-05</c:v>
                </c:pt>
                <c:pt idx="28">
                  <c:v>5.5684687283104225e-06</c:v>
                </c:pt>
                <c:pt idx="29">
                  <c:v>4.854131447081676e-05</c:v>
                </c:pt>
                <c:pt idx="30">
                  <c:v>0.0001687744548705901</c:v>
                </c:pt>
                <c:pt idx="31">
                  <c:v>7.219199063656537e-05</c:v>
                </c:pt>
                <c:pt idx="32">
                  <c:v>3.6407304196760316e-05</c:v>
                </c:pt>
                <c:pt idx="33">
                  <c:v>-2.636313725604864e-05</c:v>
                </c:pt>
                <c:pt idx="34">
                  <c:v>-6.184269946089205e-05</c:v>
                </c:pt>
                <c:pt idx="35">
                  <c:v>-5.075399933142594e-06</c:v>
                </c:pt>
                <c:pt idx="36">
                  <c:v>9.426737424041895e-05</c:v>
                </c:pt>
                <c:pt idx="37">
                  <c:v>0.00019637045835351727</c:v>
                </c:pt>
                <c:pt idx="38">
                  <c:v>0.00029295292258754203</c:v>
                </c:pt>
                <c:pt idx="39">
                  <c:v>0.0003083155730222392</c:v>
                </c:pt>
                <c:pt idx="40">
                  <c:v>0.00031273632647296274</c:v>
                </c:pt>
                <c:pt idx="41">
                  <c:v>0.00030846458718349957</c:v>
                </c:pt>
                <c:pt idx="42">
                  <c:v>0.0003011416055444199</c:v>
                </c:pt>
                <c:pt idx="43">
                  <c:v>0.0002979768285957478</c:v>
                </c:pt>
                <c:pt idx="44">
                  <c:v>0.0003116719396068174</c:v>
                </c:pt>
                <c:pt idx="45">
                  <c:v>0.0003021847046732422</c:v>
                </c:pt>
                <c:pt idx="46">
                  <c:v>0.0003098908655841342</c:v>
                </c:pt>
                <c:pt idx="47">
                  <c:v>0.0003103591958052382</c:v>
                </c:pt>
                <c:pt idx="48">
                  <c:v>0.0002988141462637822</c:v>
                </c:pt>
                <c:pt idx="49">
                  <c:v>0.00030397997052080734</c:v>
                </c:pt>
                <c:pt idx="50">
                  <c:v>0.0002976007452363765</c:v>
                </c:pt>
                <c:pt idx="51">
                  <c:v>0.0003403055238004747</c:v>
                </c:pt>
                <c:pt idx="52">
                  <c:v>0.002109024215302673</c:v>
                </c:pt>
                <c:pt idx="53">
                  <c:v>0.000340305523800474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7.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6915873235206266"/>
          <c:min val="5.765600589100241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5303041589075108</c:v>
                </c:pt>
                <c:pt idx="1">
                  <c:v>1.5533139057012628</c:v>
                </c:pt>
                <c:pt idx="2">
                  <c:v>1.5582958520739632</c:v>
                </c:pt>
                <c:pt idx="3">
                  <c:v>1.6412913808529674</c:v>
                </c:pt>
                <c:pt idx="4">
                  <c:v>1.6214015198396</c:v>
                </c:pt>
                <c:pt idx="5">
                  <c:v>1.6706765397154337</c:v>
                </c:pt>
                <c:pt idx="6">
                  <c:v>1.5939345209678635</c:v>
                </c:pt>
                <c:pt idx="7">
                  <c:v>1.554038276054622</c:v>
                </c:pt>
                <c:pt idx="8">
                  <c:v>1.5276955496462794</c:v>
                </c:pt>
                <c:pt idx="9">
                  <c:v>1.5325570935985209</c:v>
                </c:pt>
                <c:pt idx="10">
                  <c:v>1.5499130522442601</c:v>
                </c:pt>
                <c:pt idx="11">
                  <c:v>1.4202569724162546</c:v>
                </c:pt>
                <c:pt idx="12">
                  <c:v>1.420047793369941</c:v>
                </c:pt>
                <c:pt idx="13">
                  <c:v>1.4431789096493473</c:v>
                </c:pt>
                <c:pt idx="14">
                  <c:v>1.3804580075915638</c:v>
                </c:pt>
                <c:pt idx="15">
                  <c:v>1.1288802453437055</c:v>
                </c:pt>
                <c:pt idx="16">
                  <c:v>1.1142929038751888</c:v>
                </c:pt>
                <c:pt idx="17">
                  <c:v>1.1030284812504698</c:v>
                </c:pt>
                <c:pt idx="18">
                  <c:v>1.2154296234647297</c:v>
                </c:pt>
                <c:pt idx="19">
                  <c:v>1.1723146179817432</c:v>
                </c:pt>
                <c:pt idx="20">
                  <c:v>1.3955455455455454</c:v>
                </c:pt>
                <c:pt idx="21">
                  <c:v>1.4034357499621615</c:v>
                </c:pt>
                <c:pt idx="22">
                  <c:v>0.9698873649528773</c:v>
                </c:pt>
                <c:pt idx="23">
                  <c:v>0.6202748276035637</c:v>
                </c:pt>
                <c:pt idx="24">
                  <c:v>0.626260614059115</c:v>
                </c:pt>
                <c:pt idx="25">
                  <c:v>0.6277255049554635</c:v>
                </c:pt>
                <c:pt idx="26">
                  <c:v>0.6497625173164456</c:v>
                </c:pt>
                <c:pt idx="27">
                  <c:v>0.6515431084599247</c:v>
                </c:pt>
                <c:pt idx="28">
                  <c:v>0.6437673685001127</c:v>
                </c:pt>
                <c:pt idx="29">
                  <c:v>0.6421518128596195</c:v>
                </c:pt>
                <c:pt idx="30">
                  <c:v>0.4363100165562914</c:v>
                </c:pt>
                <c:pt idx="31">
                  <c:v>0.40569972196478227</c:v>
                </c:pt>
                <c:pt idx="32">
                  <c:v>0.4155887571682053</c:v>
                </c:pt>
                <c:pt idx="33">
                  <c:v>0.42254382388911543</c:v>
                </c:pt>
                <c:pt idx="34">
                  <c:v>0.42798667785320216</c:v>
                </c:pt>
                <c:pt idx="35">
                  <c:v>0.4507071547420965</c:v>
                </c:pt>
                <c:pt idx="36">
                  <c:v>0.45719022823242916</c:v>
                </c:pt>
                <c:pt idx="37">
                  <c:v>0.4661360839856533</c:v>
                </c:pt>
                <c:pt idx="38">
                  <c:v>0.49706300944494763</c:v>
                </c:pt>
                <c:pt idx="39">
                  <c:v>0.5648367914656867</c:v>
                </c:pt>
                <c:pt idx="40">
                  <c:v>0.6471194968553459</c:v>
                </c:pt>
                <c:pt idx="41">
                  <c:v>0.679252402273985</c:v>
                </c:pt>
                <c:pt idx="42">
                  <c:v>0.7412349291227363</c:v>
                </c:pt>
                <c:pt idx="43">
                  <c:v>0.7773420699774837</c:v>
                </c:pt>
                <c:pt idx="44">
                  <c:v>1.0454798146922568</c:v>
                </c:pt>
                <c:pt idx="45">
                  <c:v>1.2927628990373266</c:v>
                </c:pt>
                <c:pt idx="46">
                  <c:v>1.3758026446029288</c:v>
                </c:pt>
                <c:pt idx="47">
                  <c:v>1.446068053906129</c:v>
                </c:pt>
                <c:pt idx="48">
                  <c:v>1.5394120153387303</c:v>
                </c:pt>
                <c:pt idx="49">
                  <c:v>1.4679385687143762</c:v>
                </c:pt>
                <c:pt idx="50">
                  <c:v>1.22424865786965</c:v>
                </c:pt>
                <c:pt idx="51">
                  <c:v>1.0434139986973294</c:v>
                </c:pt>
                <c:pt idx="52">
                  <c:v>0.7217677969462623</c:v>
                </c:pt>
                <c:pt idx="53">
                  <c:v>0.5560470112473146</c:v>
                </c:pt>
                <c:pt idx="54">
                  <c:v>0.4931101126979744</c:v>
                </c:pt>
                <c:pt idx="55">
                  <c:v>0.5759590921685686</c:v>
                </c:pt>
                <c:pt idx="56">
                  <c:v>0.7472835076468941</c:v>
                </c:pt>
                <c:pt idx="57">
                  <c:v>0.8517962133181383</c:v>
                </c:pt>
                <c:pt idx="58">
                  <c:v>0.9162909183543498</c:v>
                </c:pt>
                <c:pt idx="59">
                  <c:v>0.8890259256404327</c:v>
                </c:pt>
                <c:pt idx="60">
                  <c:v>0.8988858577875226</c:v>
                </c:pt>
                <c:pt idx="61">
                  <c:v>0.8921453990849009</c:v>
                </c:pt>
                <c:pt idx="62">
                  <c:v>0.9557384809593941</c:v>
                </c:pt>
                <c:pt idx="63">
                  <c:v>1.0566438264140805</c:v>
                </c:pt>
                <c:pt idx="64">
                  <c:v>1.0993987122864897</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1138062147633407</c:v>
                </c:pt>
                <c:pt idx="1">
                  <c:v>1.0971841451228572</c:v>
                </c:pt>
                <c:pt idx="2">
                  <c:v>1.107873856572497</c:v>
                </c:pt>
                <c:pt idx="3">
                  <c:v>1.1168537038450772</c:v>
                </c:pt>
                <c:pt idx="4">
                  <c:v>1.0776472944888198</c:v>
                </c:pt>
                <c:pt idx="5">
                  <c:v>1.0822021116138762</c:v>
                </c:pt>
                <c:pt idx="6">
                  <c:v>1.0968998053017822</c:v>
                </c:pt>
                <c:pt idx="7">
                  <c:v>1.0423297580444</c:v>
                </c:pt>
                <c:pt idx="8">
                  <c:v>1.053159478435306</c:v>
                </c:pt>
                <c:pt idx="9">
                  <c:v>1.0595337959785454</c:v>
                </c:pt>
                <c:pt idx="10">
                  <c:v>1.0450535201240752</c:v>
                </c:pt>
                <c:pt idx="11">
                  <c:v>1.062418858030191</c:v>
                </c:pt>
                <c:pt idx="12">
                  <c:v>1.064206849070556</c:v>
                </c:pt>
                <c:pt idx="13">
                  <c:v>1.0703426367143183</c:v>
                </c:pt>
                <c:pt idx="14">
                  <c:v>1.000375497534233</c:v>
                </c:pt>
                <c:pt idx="15">
                  <c:v>1.051555466136861</c:v>
                </c:pt>
                <c:pt idx="16">
                  <c:v>1.040527107282135</c:v>
                </c:pt>
                <c:pt idx="17">
                  <c:v>1.0385645559745156</c:v>
                </c:pt>
                <c:pt idx="18">
                  <c:v>1.0358122404200296</c:v>
                </c:pt>
                <c:pt idx="19">
                  <c:v>1.0430360551154338</c:v>
                </c:pt>
                <c:pt idx="20">
                  <c:v>1.0365684307977165</c:v>
                </c:pt>
                <c:pt idx="21">
                  <c:v>1.045749112791236</c:v>
                </c:pt>
                <c:pt idx="22">
                  <c:v>1.0690611348000105</c:v>
                </c:pt>
                <c:pt idx="23">
                  <c:v>1.0173796439933742</c:v>
                </c:pt>
                <c:pt idx="24">
                  <c:v>1.0600267484855637</c:v>
                </c:pt>
                <c:pt idx="25">
                  <c:v>1.0288019028905322</c:v>
                </c:pt>
                <c:pt idx="26">
                  <c:v>1.0272563176895306</c:v>
                </c:pt>
                <c:pt idx="27">
                  <c:v>0.9662272853290319</c:v>
                </c:pt>
                <c:pt idx="28">
                  <c:v>0.9911259709897182</c:v>
                </c:pt>
                <c:pt idx="29">
                  <c:v>0.9781188765512737</c:v>
                </c:pt>
                <c:pt idx="30">
                  <c:v>0.9876949784279186</c:v>
                </c:pt>
                <c:pt idx="31">
                  <c:v>0.9878564713256033</c:v>
                </c:pt>
                <c:pt idx="32">
                  <c:v>0.9640001041965145</c:v>
                </c:pt>
                <c:pt idx="33">
                  <c:v>0.6197383758580495</c:v>
                </c:pt>
                <c:pt idx="34">
                  <c:v>0.8162860747110161</c:v>
                </c:pt>
                <c:pt idx="35">
                  <c:v>0.9264070411707006</c:v>
                </c:pt>
                <c:pt idx="36">
                  <c:v>0.904726020023684</c:v>
                </c:pt>
                <c:pt idx="37">
                  <c:v>0.8294005102040817</c:v>
                </c:pt>
                <c:pt idx="38">
                  <c:v>0.9195044027117588</c:v>
                </c:pt>
                <c:pt idx="39">
                  <c:v>1.0355066445182723</c:v>
                </c:pt>
                <c:pt idx="40">
                  <c:v>0.888711659650132</c:v>
                </c:pt>
                <c:pt idx="41">
                  <c:v>0.9270901779378138</c:v>
                </c:pt>
                <c:pt idx="42">
                  <c:v>1.0160598451558904</c:v>
                </c:pt>
                <c:pt idx="43">
                  <c:v>1.0440676178169255</c:v>
                </c:pt>
                <c:pt idx="44">
                  <c:v>1.0345001727666587</c:v>
                </c:pt>
                <c:pt idx="45">
                  <c:v>0.9266019517736356</c:v>
                </c:pt>
                <c:pt idx="46">
                  <c:v>0.9046687096026576</c:v>
                </c:pt>
                <c:pt idx="47">
                  <c:v>0.9076727642276423</c:v>
                </c:pt>
                <c:pt idx="48">
                  <c:v>0.9332072140244672</c:v>
                </c:pt>
                <c:pt idx="49">
                  <c:v>0.9667021635801668</c:v>
                </c:pt>
                <c:pt idx="50">
                  <c:v>1.0401494181827955</c:v>
                </c:pt>
                <c:pt idx="51">
                  <c:v>1.022961140650213</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3.2690192491860035</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3.2690192491860035</c:v>
                </c:pt>
                <c:pt idx="1">
                  <c:v>-3.2690192491860035</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8975902342986251</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8975902342986251</c:v>
                </c:pt>
                <c:pt idx="1">
                  <c:v>0.8975902342986251</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8975902342986251</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8975902342986251</c:v>
                </c:pt>
                <c:pt idx="1">
                  <c:v>0.8975902342986251</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1138062147633407</c:v>
                </c:pt>
                <c:pt idx="1">
                  <c:v>1.0971841451228572</c:v>
                </c:pt>
                <c:pt idx="2">
                  <c:v>1.107873856572497</c:v>
                </c:pt>
                <c:pt idx="3">
                  <c:v>1.1168537038450772</c:v>
                </c:pt>
                <c:pt idx="4">
                  <c:v>1.0776472944888198</c:v>
                </c:pt>
                <c:pt idx="5">
                  <c:v>1.0822021116138762</c:v>
                </c:pt>
                <c:pt idx="6">
                  <c:v>1.0968998053017822</c:v>
                </c:pt>
                <c:pt idx="7">
                  <c:v>1.0423297580444</c:v>
                </c:pt>
                <c:pt idx="8">
                  <c:v>1.053159478435306</c:v>
                </c:pt>
                <c:pt idx="9">
                  <c:v>1.0595337959785454</c:v>
                </c:pt>
                <c:pt idx="10">
                  <c:v>1.0450535201240752</c:v>
                </c:pt>
                <c:pt idx="11">
                  <c:v>1.062418858030191</c:v>
                </c:pt>
                <c:pt idx="12">
                  <c:v>1.064206849070556</c:v>
                </c:pt>
                <c:pt idx="13">
                  <c:v>1.0703426367143183</c:v>
                </c:pt>
                <c:pt idx="14">
                  <c:v>1.000375497534233</c:v>
                </c:pt>
                <c:pt idx="15">
                  <c:v>1.051555466136861</c:v>
                </c:pt>
                <c:pt idx="16">
                  <c:v>1.040527107282135</c:v>
                </c:pt>
                <c:pt idx="17">
                  <c:v>1.0385645559745156</c:v>
                </c:pt>
                <c:pt idx="18">
                  <c:v>1.0358122404200296</c:v>
                </c:pt>
                <c:pt idx="19">
                  <c:v>1.0430360551154338</c:v>
                </c:pt>
                <c:pt idx="20">
                  <c:v>1.0365684307977165</c:v>
                </c:pt>
                <c:pt idx="21">
                  <c:v>1.045749112791236</c:v>
                </c:pt>
                <c:pt idx="22">
                  <c:v>1.0690611348000105</c:v>
                </c:pt>
                <c:pt idx="23">
                  <c:v>1.0173796439933742</c:v>
                </c:pt>
                <c:pt idx="24">
                  <c:v>1.0600267484855637</c:v>
                </c:pt>
                <c:pt idx="25">
                  <c:v>1.0288019028905322</c:v>
                </c:pt>
                <c:pt idx="26">
                  <c:v>1.0272563176895306</c:v>
                </c:pt>
                <c:pt idx="27">
                  <c:v>0.9662272853290319</c:v>
                </c:pt>
                <c:pt idx="28">
                  <c:v>0.9911259709897182</c:v>
                </c:pt>
                <c:pt idx="29">
                  <c:v>0.9781188765512737</c:v>
                </c:pt>
                <c:pt idx="30">
                  <c:v>0.9876949784279186</c:v>
                </c:pt>
                <c:pt idx="31">
                  <c:v>0.9878564713256033</c:v>
                </c:pt>
                <c:pt idx="32">
                  <c:v>0.9640001041965145</c:v>
                </c:pt>
                <c:pt idx="33">
                  <c:v>0.6197383758580495</c:v>
                </c:pt>
                <c:pt idx="34">
                  <c:v>0.8162860747110161</c:v>
                </c:pt>
                <c:pt idx="35">
                  <c:v>0.9264070411707006</c:v>
                </c:pt>
                <c:pt idx="36">
                  <c:v>0.904726020023684</c:v>
                </c:pt>
                <c:pt idx="37">
                  <c:v>0.8294005102040817</c:v>
                </c:pt>
                <c:pt idx="38">
                  <c:v>0.9195044027117588</c:v>
                </c:pt>
                <c:pt idx="39">
                  <c:v>1.0355066445182723</c:v>
                </c:pt>
                <c:pt idx="40">
                  <c:v>0.888711659650132</c:v>
                </c:pt>
                <c:pt idx="41">
                  <c:v>0.9270901779378138</c:v>
                </c:pt>
                <c:pt idx="42">
                  <c:v>1.0160598451558904</c:v>
                </c:pt>
                <c:pt idx="43">
                  <c:v>1.0440676178169255</c:v>
                </c:pt>
                <c:pt idx="44">
                  <c:v>1.0345001727666587</c:v>
                </c:pt>
                <c:pt idx="45">
                  <c:v>0.9266019517736356</c:v>
                </c:pt>
                <c:pt idx="46">
                  <c:v>0.9046687096026576</c:v>
                </c:pt>
                <c:pt idx="47">
                  <c:v>0.9076727642276423</c:v>
                </c:pt>
                <c:pt idx="48">
                  <c:v>0.9332072140244672</c:v>
                </c:pt>
                <c:pt idx="49">
                  <c:v>0.9667021635801668</c:v>
                </c:pt>
                <c:pt idx="50">
                  <c:v>1.0401494181827955</c:v>
                </c:pt>
                <c:pt idx="51">
                  <c:v>1.022961140650213</c:v>
                </c:pt>
                <c:pt idx="52">
                  <c:v>0.8975902342986251</c:v>
                </c:pt>
                <c:pt idx="53">
                  <c:v>-3.2690192491860035</c:v>
                </c:pt>
                <c:pt idx="54">
                  <c:v>0.8975902342986251</c:v>
                </c:pt>
              </c:numCache>
            </c:numRef>
          </c:xVal>
          <c:yVal>
            <c:numRef>
              <c:f>Sheet1!$B$147:$B$201</c:f>
              <c:numCache>
                <c:formatCode>General</c:formatCode>
                <c:ptCount val="55"/>
                <c:pt idx="0">
                  <c:v>0.0009970520246749305</c:v>
                </c:pt>
                <c:pt idx="1">
                  <c:v>0.001047846910963181</c:v>
                </c:pt>
                <c:pt idx="2">
                  <c:v>0.0010151805409332896</c:v>
                </c:pt>
                <c:pt idx="3">
                  <c:v>0.0009877392937864453</c:v>
                </c:pt>
                <c:pt idx="4">
                  <c:v>0.0011075489894558327</c:v>
                </c:pt>
                <c:pt idx="5">
                  <c:v>0.0010936300598077741</c:v>
                </c:pt>
                <c:pt idx="6">
                  <c:v>0.0010487158165321695</c:v>
                </c:pt>
                <c:pt idx="7">
                  <c:v>0.0012154747945135993</c:v>
                </c:pt>
                <c:pt idx="8">
                  <c:v>0.0011823805753406842</c:v>
                </c:pt>
                <c:pt idx="9">
                  <c:v>0.0011629014886940093</c:v>
                </c:pt>
                <c:pt idx="10">
                  <c:v>0.001207151331304398</c:v>
                </c:pt>
                <c:pt idx="11">
                  <c:v>0.0011540851137167942</c:v>
                </c:pt>
                <c:pt idx="12">
                  <c:v>0.0011486212452849979</c:v>
                </c:pt>
                <c:pt idx="13">
                  <c:v>0.0011298710750357603</c:v>
                </c:pt>
                <c:pt idx="14">
                  <c:v>0.0013436815664748542</c:v>
                </c:pt>
                <c:pt idx="15">
                  <c:v>0.001187282228628554</c:v>
                </c:pt>
                <c:pt idx="16">
                  <c:v>0.0012209834611518183</c:v>
                </c:pt>
                <c:pt idx="17">
                  <c:v>0.0012269807630920404</c:v>
                </c:pt>
                <c:pt idx="18">
                  <c:v>0.0012353914820123248</c:v>
                </c:pt>
                <c:pt idx="19">
                  <c:v>0.0012133164423838794</c:v>
                </c:pt>
                <c:pt idx="20">
                  <c:v>0.0012330806624165913</c:v>
                </c:pt>
                <c:pt idx="21">
                  <c:v>0.0012050256904428459</c:v>
                </c:pt>
                <c:pt idx="22">
                  <c:v>0.001133787178470732</c:v>
                </c:pt>
                <c:pt idx="23">
                  <c:v>0.001291719103045077</c:v>
                </c:pt>
                <c:pt idx="24">
                  <c:v>0.0011613950898471102</c:v>
                </c:pt>
                <c:pt idx="25">
                  <c:v>0.0012568141631437895</c:v>
                </c:pt>
                <c:pt idx="26">
                  <c:v>0.0012615372708091829</c:v>
                </c:pt>
                <c:pt idx="27">
                  <c:v>0.0014480340685053884</c:v>
                </c:pt>
                <c:pt idx="28">
                  <c:v>0.0013719469184563246</c:v>
                </c:pt>
                <c:pt idx="29">
                  <c:v>0.001411694909965889</c:v>
                </c:pt>
                <c:pt idx="30">
                  <c:v>0.0013824315861783267</c:v>
                </c:pt>
                <c:pt idx="31">
                  <c:v>0.0013819380848543836</c:v>
                </c:pt>
                <c:pt idx="32">
                  <c:v>0.0014548400448258117</c:v>
                </c:pt>
                <c:pt idx="33">
                  <c:v>0.002506859180984372</c:v>
                </c:pt>
                <c:pt idx="34">
                  <c:v>0.0019062349368686843</c:v>
                </c:pt>
                <c:pt idx="35">
                  <c:v>0.001569719563617655</c:v>
                </c:pt>
                <c:pt idx="36">
                  <c:v>0.0016359739487571356</c:v>
                </c:pt>
                <c:pt idx="37">
                  <c:v>0.0018661589250354499</c:v>
                </c:pt>
                <c:pt idx="38">
                  <c:v>0.0015908131303752448</c:v>
                </c:pt>
                <c:pt idx="39">
                  <c:v>0.0012363253434035746</c:v>
                </c:pt>
                <c:pt idx="40">
                  <c:v>0.0016849117544424433</c:v>
                </c:pt>
                <c:pt idx="41">
                  <c:v>0.0015676319863691317</c:v>
                </c:pt>
                <c:pt idx="42">
                  <c:v>0.001295752236904057</c:v>
                </c:pt>
                <c:pt idx="43">
                  <c:v>0.0012101641207263015</c:v>
                </c:pt>
                <c:pt idx="44">
                  <c:v>0.001239400990376623</c:v>
                </c:pt>
                <c:pt idx="45">
                  <c:v>0.001569123942126072</c:v>
                </c:pt>
                <c:pt idx="46">
                  <c:v>0.0016361490819614914</c:v>
                </c:pt>
                <c:pt idx="47">
                  <c:v>0.0016269690811324638</c:v>
                </c:pt>
                <c:pt idx="48">
                  <c:v>0.0015489391184433515</c:v>
                </c:pt>
                <c:pt idx="49">
                  <c:v>0.0014465829022373556</c:v>
                </c:pt>
                <c:pt idx="50">
                  <c:v>0.001222137629992895</c:v>
                </c:pt>
                <c:pt idx="51">
                  <c:v>0.001274662774071946</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3.813579129329916</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3.813579129329916</c:v>
                </c:pt>
                <c:pt idx="1">
                  <c:v>-13.813579129329916</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4581650954747767</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4581650954747767</c:v>
                </c:pt>
                <c:pt idx="1">
                  <c:v>3.4581650954747767</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4581650954747767</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4581650954747767</c:v>
                </c:pt>
                <c:pt idx="1">
                  <c:v>3.4581650954747767</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4581650954747767</c:v>
                </c:pt>
                <c:pt idx="53">
                  <c:v>-13.813579129329916</c:v>
                </c:pt>
                <c:pt idx="54">
                  <c:v>3.4581650954747767</c:v>
                </c:pt>
              </c:numCache>
            </c:numRef>
          </c:xVal>
          <c:yVal>
            <c:numRef>
              <c:f>Sheet1!$B$147:$B$201</c:f>
              <c:numCache>
                <c:formatCode>General</c:formatCode>
                <c:ptCount val="55"/>
                <c:pt idx="0">
                  <c:v>0.001075887425467552</c:v>
                </c:pt>
                <c:pt idx="1">
                  <c:v>0.001050306811154845</c:v>
                </c:pt>
                <c:pt idx="2">
                  <c:v>0.000975039355208812</c:v>
                </c:pt>
                <c:pt idx="3">
                  <c:v>0.0009716482651270122</c:v>
                </c:pt>
                <c:pt idx="4">
                  <c:v>0.001034383431640307</c:v>
                </c:pt>
                <c:pt idx="5">
                  <c:v>0.0010334987994450552</c:v>
                </c:pt>
                <c:pt idx="6">
                  <c:v>0.0009675937008987731</c:v>
                </c:pt>
                <c:pt idx="7">
                  <c:v>0.0011266063379953388</c:v>
                </c:pt>
                <c:pt idx="8">
                  <c:v>0.0011109041165296139</c:v>
                </c:pt>
                <c:pt idx="9">
                  <c:v>0.001134420589053399</c:v>
                </c:pt>
                <c:pt idx="10">
                  <c:v>0.001177030373124709</c:v>
                </c:pt>
                <c:pt idx="11">
                  <c:v>0.0011304397441747648</c:v>
                </c:pt>
                <c:pt idx="12">
                  <c:v>0.0011304397441747648</c:v>
                </c:pt>
                <c:pt idx="13">
                  <c:v>0.0010775092511588467</c:v>
                </c:pt>
                <c:pt idx="14">
                  <c:v>0.001261144151023263</c:v>
                </c:pt>
                <c:pt idx="15">
                  <c:v>0.0011246896349056258</c:v>
                </c:pt>
                <c:pt idx="16">
                  <c:v>0.0011976717910139245</c:v>
                </c:pt>
                <c:pt idx="17">
                  <c:v>0.0012629134154137672</c:v>
                </c:pt>
                <c:pt idx="18">
                  <c:v>0.0012838497107014006</c:v>
                </c:pt>
                <c:pt idx="19">
                  <c:v>0.0012662307861459627</c:v>
                </c:pt>
                <c:pt idx="20">
                  <c:v>0.0012356372560601604</c:v>
                </c:pt>
                <c:pt idx="21">
                  <c:v>0.0012093194482514107</c:v>
                </c:pt>
                <c:pt idx="22">
                  <c:v>0.0011944281396313334</c:v>
                </c:pt>
                <c:pt idx="23">
                  <c:v>0.0013546202863215684</c:v>
                </c:pt>
                <c:pt idx="24">
                  <c:v>0.0012272332502052657</c:v>
                </c:pt>
                <c:pt idx="25">
                  <c:v>0.0012736764404560012</c:v>
                </c:pt>
                <c:pt idx="26">
                  <c:v>0.0012703590697238061</c:v>
                </c:pt>
                <c:pt idx="27">
                  <c:v>0.001380938094130319</c:v>
                </c:pt>
                <c:pt idx="28">
                  <c:v>0.00130065772241119</c:v>
                </c:pt>
                <c:pt idx="29">
                  <c:v>0.0013368539230669222</c:v>
                </c:pt>
                <c:pt idx="30">
                  <c:v>0.0013549888830695907</c:v>
                </c:pt>
                <c:pt idx="31">
                  <c:v>0.001418534962428533</c:v>
                </c:pt>
                <c:pt idx="32">
                  <c:v>0.001478984829104094</c:v>
                </c:pt>
                <c:pt idx="33">
                  <c:v>0.002443381360628096</c:v>
                </c:pt>
                <c:pt idx="34">
                  <c:v>0.0018696973820071065</c:v>
                </c:pt>
                <c:pt idx="35">
                  <c:v>0.001630994127988247</c:v>
                </c:pt>
                <c:pt idx="36">
                  <c:v>0.0017289671436124176</c:v>
                </c:pt>
                <c:pt idx="37">
                  <c:v>0.0019061884600612557</c:v>
                </c:pt>
                <c:pt idx="38">
                  <c:v>0.0015974518239182714</c:v>
                </c:pt>
                <c:pt idx="39">
                  <c:v>0.0012660096280971496</c:v>
                </c:pt>
                <c:pt idx="40">
                  <c:v>0.0017016172649092069</c:v>
                </c:pt>
                <c:pt idx="41">
                  <c:v>0.001606814181318023</c:v>
                </c:pt>
                <c:pt idx="42">
                  <c:v>0.0013434149451817087</c:v>
                </c:pt>
                <c:pt idx="43">
                  <c:v>0.001288567749076078</c:v>
                </c:pt>
                <c:pt idx="44">
                  <c:v>0.0013378859939613828</c:v>
                </c:pt>
                <c:pt idx="45">
                  <c:v>0.0015612556232625393</c:v>
                </c:pt>
                <c:pt idx="46">
                  <c:v>0.0016172823289618394</c:v>
                </c:pt>
                <c:pt idx="47">
                  <c:v>0.0015734193159472557</c:v>
                </c:pt>
                <c:pt idx="48">
                  <c:v>0.0014797220226001372</c:v>
                </c:pt>
                <c:pt idx="49">
                  <c:v>0.001463356326987973</c:v>
                </c:pt>
                <c:pt idx="50">
                  <c:v>0.0013538093734759213</c:v>
                </c:pt>
                <c:pt idx="51">
                  <c:v>0.0013563158313624683</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2447916666666665</c:v>
                </c:pt>
                <c:pt idx="1">
                  <c:v>2.2512453974442277</c:v>
                </c:pt>
                <c:pt idx="2">
                  <c:v>2.2363551602954885</c:v>
                </c:pt>
                <c:pt idx="3">
                  <c:v>2.3556752514803456</c:v>
                </c:pt>
                <c:pt idx="4">
                  <c:v>2.335389332572732</c:v>
                </c:pt>
                <c:pt idx="5">
                  <c:v>2.3482168229610685</c:v>
                </c:pt>
                <c:pt idx="6">
                  <c:v>2.235113804523994</c:v>
                </c:pt>
                <c:pt idx="7">
                  <c:v>2.17421875</c:v>
                </c:pt>
                <c:pt idx="8">
                  <c:v>2.1522937725312783</c:v>
                </c:pt>
                <c:pt idx="9">
                  <c:v>2.1454405540592534</c:v>
                </c:pt>
                <c:pt idx="10">
                  <c:v>2.1497133668903805</c:v>
                </c:pt>
                <c:pt idx="11">
                  <c:v>1.9396629761158697</c:v>
                </c:pt>
                <c:pt idx="12">
                  <c:v>1.9498394303267244</c:v>
                </c:pt>
                <c:pt idx="13">
                  <c:v>1.9517133956386292</c:v>
                </c:pt>
                <c:pt idx="14">
                  <c:v>1.9015235457063713</c:v>
                </c:pt>
                <c:pt idx="15">
                  <c:v>1.5896355593006108</c:v>
                </c:pt>
                <c:pt idx="16">
                  <c:v>1.5481592839911897</c:v>
                </c:pt>
                <c:pt idx="17">
                  <c:v>1.5411591768164636</c:v>
                </c:pt>
                <c:pt idx="18">
                  <c:v>1.6820117269300572</c:v>
                </c:pt>
                <c:pt idx="19">
                  <c:v>1.631796978347142</c:v>
                </c:pt>
                <c:pt idx="20">
                  <c:v>1.9294858487301916</c:v>
                </c:pt>
                <c:pt idx="21">
                  <c:v>1.9302293307428098</c:v>
                </c:pt>
                <c:pt idx="22">
                  <c:v>1.3230897878122714</c:v>
                </c:pt>
                <c:pt idx="23">
                  <c:v>0.8551403490510392</c:v>
                </c:pt>
                <c:pt idx="24">
                  <c:v>0.8650340510421684</c:v>
                </c:pt>
                <c:pt idx="25">
                  <c:v>0.8650760719225449</c:v>
                </c:pt>
                <c:pt idx="26">
                  <c:v>0.9070064574052971</c:v>
                </c:pt>
                <c:pt idx="27">
                  <c:v>0.8955944687652004</c:v>
                </c:pt>
                <c:pt idx="28">
                  <c:v>0.8920728534258457</c:v>
                </c:pt>
                <c:pt idx="29">
                  <c:v>0.8891246868911772</c:v>
                </c:pt>
                <c:pt idx="30">
                  <c:v>0.5836188103394582</c:v>
                </c:pt>
                <c:pt idx="31">
                  <c:v>0.541230209156163</c:v>
                </c:pt>
                <c:pt idx="32">
                  <c:v>0.5539901275195394</c:v>
                </c:pt>
                <c:pt idx="33">
                  <c:v>0.5721185358954014</c:v>
                </c:pt>
                <c:pt idx="34">
                  <c:v>0.5843110031239154</c:v>
                </c:pt>
                <c:pt idx="35">
                  <c:v>0.6061750410853526</c:v>
                </c:pt>
                <c:pt idx="36">
                  <c:v>0.6190760164170204</c:v>
                </c:pt>
                <c:pt idx="37">
                  <c:v>0.6259228010968151</c:v>
                </c:pt>
                <c:pt idx="38">
                  <c:v>0.6770646082267104</c:v>
                </c:pt>
                <c:pt idx="39">
                  <c:v>0.7829901648623788</c:v>
                </c:pt>
                <c:pt idx="40">
                  <c:v>0.9048155052938899</c:v>
                </c:pt>
                <c:pt idx="41">
                  <c:v>0.9475069300677217</c:v>
                </c:pt>
                <c:pt idx="42">
                  <c:v>1.0358842398392611</c:v>
                </c:pt>
                <c:pt idx="43">
                  <c:v>1.080227816059626</c:v>
                </c:pt>
                <c:pt idx="44">
                  <c:v>1.378319896694936</c:v>
                </c:pt>
                <c:pt idx="45">
                  <c:v>1.704503008923013</c:v>
                </c:pt>
                <c:pt idx="46">
                  <c:v>1.8368121442125236</c:v>
                </c:pt>
                <c:pt idx="47">
                  <c:v>1.9236871930487345</c:v>
                </c:pt>
                <c:pt idx="48">
                  <c:v>1.9706824844889892</c:v>
                </c:pt>
                <c:pt idx="49">
                  <c:v>1.8554751342516926</c:v>
                </c:pt>
                <c:pt idx="50">
                  <c:v>1.5674503757949507</c:v>
                </c:pt>
                <c:pt idx="51">
                  <c:v>1.3700986842105263</c:v>
                </c:pt>
                <c:pt idx="52">
                  <c:v>1.038999500463855</c:v>
                </c:pt>
                <c:pt idx="53">
                  <c:v>0.79514240277577</c:v>
                </c:pt>
                <c:pt idx="54">
                  <c:v>0.7039306316958687</c:v>
                </c:pt>
                <c:pt idx="55">
                  <c:v>0.8187710377426055</c:v>
                </c:pt>
                <c:pt idx="56">
                  <c:v>1.0498730828357943</c:v>
                </c:pt>
                <c:pt idx="57">
                  <c:v>1.1712728826839518</c:v>
                </c:pt>
                <c:pt idx="58">
                  <c:v>1.2713487911777182</c:v>
                </c:pt>
                <c:pt idx="59">
                  <c:v>1.2380134535566052</c:v>
                </c:pt>
                <c:pt idx="60">
                  <c:v>1.2642355134825014</c:v>
                </c:pt>
                <c:pt idx="61">
                  <c:v>1.2695145771540186</c:v>
                </c:pt>
                <c:pt idx="62">
                  <c:v>1.309113832853026</c:v>
                </c:pt>
                <c:pt idx="63">
                  <c:v>1.4083664625192507</c:v>
                </c:pt>
                <c:pt idx="64">
                  <c:v>1.4672963567928416</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094708411812785</c:v>
                </c:pt>
                <c:pt idx="1">
                  <c:v>1.5922510597159216</c:v>
                </c:pt>
                <c:pt idx="2">
                  <c:v>1.5725045730067069</c:v>
                </c:pt>
                <c:pt idx="3">
                  <c:v>1.5730260564137486</c:v>
                </c:pt>
                <c:pt idx="4">
                  <c:v>1.5491882941578778</c:v>
                </c:pt>
                <c:pt idx="5">
                  <c:v>1.5535346974125797</c:v>
                </c:pt>
                <c:pt idx="6">
                  <c:v>1.5690363123504838</c:v>
                </c:pt>
                <c:pt idx="7">
                  <c:v>1.492979384758298</c:v>
                </c:pt>
                <c:pt idx="8">
                  <c:v>1.5071590052750565</c:v>
                </c:pt>
                <c:pt idx="9">
                  <c:v>1.49533615555715</c:v>
                </c:pt>
                <c:pt idx="10">
                  <c:v>1.4993434011818778</c:v>
                </c:pt>
                <c:pt idx="11">
                  <c:v>1.4830147111079524</c:v>
                </c:pt>
                <c:pt idx="12">
                  <c:v>1.479230169419437</c:v>
                </c:pt>
                <c:pt idx="13">
                  <c:v>1.5035061623459416</c:v>
                </c:pt>
                <c:pt idx="14">
                  <c:v>1.4259920068512704</c:v>
                </c:pt>
                <c:pt idx="15">
                  <c:v>1.49135071512644</c:v>
                </c:pt>
                <c:pt idx="16">
                  <c:v>1.459371536839095</c:v>
                </c:pt>
                <c:pt idx="17">
                  <c:v>1.4298807776305897</c:v>
                </c:pt>
                <c:pt idx="18">
                  <c:v>1.4194587628865978</c:v>
                </c:pt>
                <c:pt idx="19">
                  <c:v>1.437274823461594</c:v>
                </c:pt>
                <c:pt idx="20">
                  <c:v>1.4471171106483809</c:v>
                </c:pt>
                <c:pt idx="21">
                  <c:v>1.456013462709012</c:v>
                </c:pt>
                <c:pt idx="22">
                  <c:v>1.474597676264704</c:v>
                </c:pt>
                <c:pt idx="23">
                  <c:v>1.395988166534382</c:v>
                </c:pt>
                <c:pt idx="24">
                  <c:v>1.4585408096990693</c:v>
                </c:pt>
                <c:pt idx="25">
                  <c:v>1.4398610508033</c:v>
                </c:pt>
                <c:pt idx="26">
                  <c:v>1.4461990851666304</c:v>
                </c:pt>
                <c:pt idx="27">
                  <c:v>1.3918457740342725</c:v>
                </c:pt>
                <c:pt idx="28">
                  <c:v>1.4419574281325434</c:v>
                </c:pt>
                <c:pt idx="29">
                  <c:v>1.4238955529549444</c:v>
                </c:pt>
                <c:pt idx="30">
                  <c:v>1.4129355050763275</c:v>
                </c:pt>
                <c:pt idx="31">
                  <c:v>1.3827679485304871</c:v>
                </c:pt>
                <c:pt idx="32">
                  <c:v>1.3578557275996184</c:v>
                </c:pt>
                <c:pt idx="33">
                  <c:v>0.8749314317059791</c:v>
                </c:pt>
                <c:pt idx="34">
                  <c:v>1.1401704484159805</c:v>
                </c:pt>
                <c:pt idx="35">
                  <c:v>1.2701730154114568</c:v>
                </c:pt>
                <c:pt idx="36">
                  <c:v>1.2043996990433878</c:v>
                </c:pt>
                <c:pt idx="37">
                  <c:v>1.0982020337074698</c:v>
                </c:pt>
                <c:pt idx="38">
                  <c:v>1.207614109299311</c:v>
                </c:pt>
                <c:pt idx="39">
                  <c:v>1.4307333691949076</c:v>
                </c:pt>
                <c:pt idx="40">
                  <c:v>1.222905872193437</c:v>
                </c:pt>
                <c:pt idx="41">
                  <c:v>1.27661961635903</c:v>
                </c:pt>
                <c:pt idx="42">
                  <c:v>1.4128900851094783</c:v>
                </c:pt>
                <c:pt idx="43">
                  <c:v>1.4474261479964903</c:v>
                </c:pt>
                <c:pt idx="44">
                  <c:v>1.4144861171681933</c:v>
                </c:pt>
                <c:pt idx="45">
                  <c:v>1.2978592608664208</c:v>
                </c:pt>
                <c:pt idx="46">
                  <c:v>1.2812648163682119</c:v>
                </c:pt>
                <c:pt idx="47">
                  <c:v>1.3035831569729255</c:v>
                </c:pt>
                <c:pt idx="48">
                  <c:v>1.361535347587679</c:v>
                </c:pt>
                <c:pt idx="49">
                  <c:v>1.3691006069523635</c:v>
                </c:pt>
                <c:pt idx="50">
                  <c:v>1.4471322814626486</c:v>
                </c:pt>
                <c:pt idx="51">
                  <c:v>1.4243986887178166</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5.249290556073121</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5.249290556073121</c:v>
                </c:pt>
                <c:pt idx="1">
                  <c:v>-5.249290556073121</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417278544935575</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417278544935575</c:v>
                </c:pt>
                <c:pt idx="1">
                  <c:v>1.2417278544935575</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417278544935575</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417278544935575</c:v>
                </c:pt>
                <c:pt idx="1">
                  <c:v>1.2417278544935575</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094708411812785</c:v>
                </c:pt>
                <c:pt idx="1">
                  <c:v>1.5922510597159216</c:v>
                </c:pt>
                <c:pt idx="2">
                  <c:v>1.5725045730067069</c:v>
                </c:pt>
                <c:pt idx="3">
                  <c:v>1.5730260564137486</c:v>
                </c:pt>
                <c:pt idx="4">
                  <c:v>1.5491882941578778</c:v>
                </c:pt>
                <c:pt idx="5">
                  <c:v>1.5535346974125797</c:v>
                </c:pt>
                <c:pt idx="6">
                  <c:v>1.5690363123504838</c:v>
                </c:pt>
                <c:pt idx="7">
                  <c:v>1.492979384758298</c:v>
                </c:pt>
                <c:pt idx="8">
                  <c:v>1.5071590052750565</c:v>
                </c:pt>
                <c:pt idx="9">
                  <c:v>1.49533615555715</c:v>
                </c:pt>
                <c:pt idx="10">
                  <c:v>1.4993434011818778</c:v>
                </c:pt>
                <c:pt idx="11">
                  <c:v>1.4830147111079524</c:v>
                </c:pt>
                <c:pt idx="12">
                  <c:v>1.479230169419437</c:v>
                </c:pt>
                <c:pt idx="13">
                  <c:v>1.5035061623459416</c:v>
                </c:pt>
                <c:pt idx="14">
                  <c:v>1.4259920068512704</c:v>
                </c:pt>
                <c:pt idx="15">
                  <c:v>1.49135071512644</c:v>
                </c:pt>
                <c:pt idx="16">
                  <c:v>1.459371536839095</c:v>
                </c:pt>
                <c:pt idx="17">
                  <c:v>1.4298807776305897</c:v>
                </c:pt>
                <c:pt idx="18">
                  <c:v>1.4194587628865978</c:v>
                </c:pt>
                <c:pt idx="19">
                  <c:v>1.437274823461594</c:v>
                </c:pt>
                <c:pt idx="20">
                  <c:v>1.4471171106483809</c:v>
                </c:pt>
                <c:pt idx="21">
                  <c:v>1.456013462709012</c:v>
                </c:pt>
                <c:pt idx="22">
                  <c:v>1.474597676264704</c:v>
                </c:pt>
                <c:pt idx="23">
                  <c:v>1.395988166534382</c:v>
                </c:pt>
                <c:pt idx="24">
                  <c:v>1.4585408096990693</c:v>
                </c:pt>
                <c:pt idx="25">
                  <c:v>1.4398610508033</c:v>
                </c:pt>
                <c:pt idx="26">
                  <c:v>1.4461990851666304</c:v>
                </c:pt>
                <c:pt idx="27">
                  <c:v>1.3918457740342725</c:v>
                </c:pt>
                <c:pt idx="28">
                  <c:v>1.4419574281325434</c:v>
                </c:pt>
                <c:pt idx="29">
                  <c:v>1.4238955529549444</c:v>
                </c:pt>
                <c:pt idx="30">
                  <c:v>1.4129355050763275</c:v>
                </c:pt>
                <c:pt idx="31">
                  <c:v>1.3827679485304871</c:v>
                </c:pt>
                <c:pt idx="32">
                  <c:v>1.3578557275996184</c:v>
                </c:pt>
                <c:pt idx="33">
                  <c:v>0.8749314317059791</c:v>
                </c:pt>
                <c:pt idx="34">
                  <c:v>1.1401704484159805</c:v>
                </c:pt>
                <c:pt idx="35">
                  <c:v>1.2701730154114568</c:v>
                </c:pt>
                <c:pt idx="36">
                  <c:v>1.2043996990433878</c:v>
                </c:pt>
                <c:pt idx="37">
                  <c:v>1.0982020337074698</c:v>
                </c:pt>
                <c:pt idx="38">
                  <c:v>1.207614109299311</c:v>
                </c:pt>
                <c:pt idx="39">
                  <c:v>1.4307333691949076</c:v>
                </c:pt>
                <c:pt idx="40">
                  <c:v>1.222905872193437</c:v>
                </c:pt>
                <c:pt idx="41">
                  <c:v>1.27661961635903</c:v>
                </c:pt>
                <c:pt idx="42">
                  <c:v>1.4128900851094783</c:v>
                </c:pt>
                <c:pt idx="43">
                  <c:v>1.4474261479964903</c:v>
                </c:pt>
                <c:pt idx="44">
                  <c:v>1.4144861171681933</c:v>
                </c:pt>
                <c:pt idx="45">
                  <c:v>1.2978592608664208</c:v>
                </c:pt>
                <c:pt idx="46">
                  <c:v>1.2812648163682119</c:v>
                </c:pt>
                <c:pt idx="47">
                  <c:v>1.3035831569729255</c:v>
                </c:pt>
                <c:pt idx="48">
                  <c:v>1.361535347587679</c:v>
                </c:pt>
                <c:pt idx="49">
                  <c:v>1.3691006069523635</c:v>
                </c:pt>
                <c:pt idx="50">
                  <c:v>1.4471322814626486</c:v>
                </c:pt>
                <c:pt idx="51">
                  <c:v>1.4243986887178166</c:v>
                </c:pt>
                <c:pt idx="52">
                  <c:v>1.2417278544935575</c:v>
                </c:pt>
                <c:pt idx="53">
                  <c:v>-5.249290556073121</c:v>
                </c:pt>
                <c:pt idx="54">
                  <c:v>1.2417278544935575</c:v>
                </c:pt>
              </c:numCache>
            </c:numRef>
          </c:xVal>
          <c:yVal>
            <c:numRef>
              <c:f>Sheet1!$B$147:$B$201</c:f>
              <c:numCache>
                <c:formatCode>General</c:formatCode>
                <c:ptCount val="55"/>
                <c:pt idx="0">
                  <c:v>0.0011325821138160083</c:v>
                </c:pt>
                <c:pt idx="1">
                  <c:v>0.0009702025312681977</c:v>
                </c:pt>
                <c:pt idx="2">
                  <c:v>0.0010089367400609216</c:v>
                </c:pt>
                <c:pt idx="3">
                  <c:v>0.0010079138114018771</c:v>
                </c:pt>
                <c:pt idx="4">
                  <c:v>0.0010546733628080183</c:v>
                </c:pt>
                <c:pt idx="5">
                  <c:v>0.0010461475681365828</c:v>
                </c:pt>
                <c:pt idx="6">
                  <c:v>0.0010157399924259633</c:v>
                </c:pt>
                <c:pt idx="7">
                  <c:v>0.0011649313375432725</c:v>
                </c:pt>
                <c:pt idx="8">
                  <c:v>0.0011371169526460637</c:v>
                </c:pt>
                <c:pt idx="9">
                  <c:v>0.001160308355564573</c:v>
                </c:pt>
                <c:pt idx="10">
                  <c:v>0.0011524478439202662</c:v>
                </c:pt>
                <c:pt idx="11">
                  <c:v>0.0011844777892947998</c:v>
                </c:pt>
                <c:pt idx="12">
                  <c:v>0.001191901450531678</c:v>
                </c:pt>
                <c:pt idx="13">
                  <c:v>0.0011442822769281466</c:v>
                </c:pt>
                <c:pt idx="14">
                  <c:v>0.001296332083434798</c:v>
                </c:pt>
                <c:pt idx="15">
                  <c:v>0.0011681260946919108</c:v>
                </c:pt>
                <c:pt idx="16">
                  <c:v>0.001230855641828199</c:v>
                </c:pt>
                <c:pt idx="17">
                  <c:v>0.001288703969050131</c:v>
                </c:pt>
                <c:pt idx="18">
                  <c:v>0.0013091475295213843</c:v>
                </c:pt>
                <c:pt idx="19">
                  <c:v>0.0012741999957986542</c:v>
                </c:pt>
                <c:pt idx="20">
                  <c:v>0.0012548936142379764</c:v>
                </c:pt>
                <c:pt idx="21">
                  <c:v>0.001237442755091004</c:v>
                </c:pt>
                <c:pt idx="22">
                  <c:v>0.001200988431913665</c:v>
                </c:pt>
                <c:pt idx="23">
                  <c:v>0.0013551868575792827</c:v>
                </c:pt>
                <c:pt idx="24">
                  <c:v>0.0012324851751707817</c:v>
                </c:pt>
                <c:pt idx="25">
                  <c:v>0.0012691269176701614</c:v>
                </c:pt>
                <c:pt idx="26">
                  <c:v>0.0012566943897992598</c:v>
                </c:pt>
                <c:pt idx="27">
                  <c:v>0.0013633124699154653</c:v>
                </c:pt>
                <c:pt idx="28">
                  <c:v>0.0012650147169341514</c:v>
                </c:pt>
                <c:pt idx="29">
                  <c:v>0.0013004444343628603</c:v>
                </c:pt>
                <c:pt idx="30">
                  <c:v>0.0013219433870201194</c:v>
                </c:pt>
                <c:pt idx="31">
                  <c:v>0.0013811193027777106</c:v>
                </c:pt>
                <c:pt idx="32">
                  <c:v>0.0014299864851396466</c:v>
                </c:pt>
                <c:pt idx="33">
                  <c:v>0.002377278567203763</c:v>
                </c:pt>
                <c:pt idx="34">
                  <c:v>0.001856992421900371</c:v>
                </c:pt>
                <c:pt idx="35">
                  <c:v>0.0016019826752175339</c:v>
                </c:pt>
                <c:pt idx="36">
                  <c:v>0.0017310019487069184</c:v>
                </c:pt>
                <c:pt idx="37">
                  <c:v>0.001939316602498051</c:v>
                </c:pt>
                <c:pt idx="38">
                  <c:v>0.001724696642865333</c:v>
                </c:pt>
                <c:pt idx="39">
                  <c:v>0.001287031547005971</c:v>
                </c:pt>
                <c:pt idx="40">
                  <c:v>0.0016947007076150637</c:v>
                </c:pt>
                <c:pt idx="41">
                  <c:v>0.001589337185881441</c:v>
                </c:pt>
                <c:pt idx="42">
                  <c:v>0.0013220324816780806</c:v>
                </c:pt>
                <c:pt idx="43">
                  <c:v>0.0012542874143937868</c:v>
                </c:pt>
                <c:pt idx="44">
                  <c:v>0.001318901745567272</c:v>
                </c:pt>
                <c:pt idx="45">
                  <c:v>0.001547674036524923</c:v>
                </c:pt>
                <c:pt idx="46">
                  <c:v>0.001580225279055218</c:v>
                </c:pt>
                <c:pt idx="47">
                  <c:v>0.0015364461867224694</c:v>
                </c:pt>
                <c:pt idx="48">
                  <c:v>0.0014227686356561276</c:v>
                </c:pt>
                <c:pt idx="49">
                  <c:v>0.0014079288142682523</c:v>
                </c:pt>
                <c:pt idx="50">
                  <c:v>0.0012548638555524919</c:v>
                </c:pt>
                <c:pt idx="51">
                  <c:v>0.00129945749597847</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3.813579129329916</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3.813579129329916</c:v>
                </c:pt>
                <c:pt idx="1">
                  <c:v>-13.813579129329916</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4581650954747767</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4581650954747767</c:v>
                </c:pt>
                <c:pt idx="1">
                  <c:v>3.4581650954747767</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4581650954747767</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4581650954747767</c:v>
                </c:pt>
                <c:pt idx="1">
                  <c:v>3.4581650954747767</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4581650954747767</c:v>
                </c:pt>
                <c:pt idx="53">
                  <c:v>-13.813579129329916</c:v>
                </c:pt>
                <c:pt idx="54">
                  <c:v>3.4581650954747767</c:v>
                </c:pt>
              </c:numCache>
            </c:numRef>
          </c:xVal>
          <c:yVal>
            <c:numRef>
              <c:f>Sheet1!$B$147:$B$201</c:f>
              <c:numCache>
                <c:formatCode>General</c:formatCode>
                <c:ptCount val="55"/>
                <c:pt idx="0">
                  <c:v>0.001075887425467552</c:v>
                </c:pt>
                <c:pt idx="1">
                  <c:v>0.001050306811154845</c:v>
                </c:pt>
                <c:pt idx="2">
                  <c:v>0.000975039355208812</c:v>
                </c:pt>
                <c:pt idx="3">
                  <c:v>0.0009716482651270122</c:v>
                </c:pt>
                <c:pt idx="4">
                  <c:v>0.001034383431640307</c:v>
                </c:pt>
                <c:pt idx="5">
                  <c:v>0.0010334987994450552</c:v>
                </c:pt>
                <c:pt idx="6">
                  <c:v>0.0009675937008987731</c:v>
                </c:pt>
                <c:pt idx="7">
                  <c:v>0.0011266063379953388</c:v>
                </c:pt>
                <c:pt idx="8">
                  <c:v>0.0011109041165296139</c:v>
                </c:pt>
                <c:pt idx="9">
                  <c:v>0.001134420589053399</c:v>
                </c:pt>
                <c:pt idx="10">
                  <c:v>0.001177030373124709</c:v>
                </c:pt>
                <c:pt idx="11">
                  <c:v>0.0011304397441747648</c:v>
                </c:pt>
                <c:pt idx="12">
                  <c:v>0.0011304397441747648</c:v>
                </c:pt>
                <c:pt idx="13">
                  <c:v>0.0010775092511588467</c:v>
                </c:pt>
                <c:pt idx="14">
                  <c:v>0.001261144151023263</c:v>
                </c:pt>
                <c:pt idx="15">
                  <c:v>0.0011246896349056258</c:v>
                </c:pt>
                <c:pt idx="16">
                  <c:v>0.0011976717910139245</c:v>
                </c:pt>
                <c:pt idx="17">
                  <c:v>0.0012629134154137672</c:v>
                </c:pt>
                <c:pt idx="18">
                  <c:v>0.0012838497107014006</c:v>
                </c:pt>
                <c:pt idx="19">
                  <c:v>0.0012662307861459627</c:v>
                </c:pt>
                <c:pt idx="20">
                  <c:v>0.0012356372560601604</c:v>
                </c:pt>
                <c:pt idx="21">
                  <c:v>0.0012093194482514107</c:v>
                </c:pt>
                <c:pt idx="22">
                  <c:v>0.0011944281396313334</c:v>
                </c:pt>
                <c:pt idx="23">
                  <c:v>0.0013546202863215684</c:v>
                </c:pt>
                <c:pt idx="24">
                  <c:v>0.0012272332502052657</c:v>
                </c:pt>
                <c:pt idx="25">
                  <c:v>0.0012736764404560012</c:v>
                </c:pt>
                <c:pt idx="26">
                  <c:v>0.0012703590697238061</c:v>
                </c:pt>
                <c:pt idx="27">
                  <c:v>0.001380938094130319</c:v>
                </c:pt>
                <c:pt idx="28">
                  <c:v>0.00130065772241119</c:v>
                </c:pt>
                <c:pt idx="29">
                  <c:v>0.0013368539230669222</c:v>
                </c:pt>
                <c:pt idx="30">
                  <c:v>0.0013549888830695907</c:v>
                </c:pt>
                <c:pt idx="31">
                  <c:v>0.001418534962428533</c:v>
                </c:pt>
                <c:pt idx="32">
                  <c:v>0.001478984829104094</c:v>
                </c:pt>
                <c:pt idx="33">
                  <c:v>0.002443381360628096</c:v>
                </c:pt>
                <c:pt idx="34">
                  <c:v>0.0018696973820071065</c:v>
                </c:pt>
                <c:pt idx="35">
                  <c:v>0.001630994127988247</c:v>
                </c:pt>
                <c:pt idx="36">
                  <c:v>0.0017289671436124176</c:v>
                </c:pt>
                <c:pt idx="37">
                  <c:v>0.0019061884600612557</c:v>
                </c:pt>
                <c:pt idx="38">
                  <c:v>0.0015974518239182714</c:v>
                </c:pt>
                <c:pt idx="39">
                  <c:v>0.0012660096280971496</c:v>
                </c:pt>
                <c:pt idx="40">
                  <c:v>0.0017016172649092069</c:v>
                </c:pt>
                <c:pt idx="41">
                  <c:v>0.001606814181318023</c:v>
                </c:pt>
                <c:pt idx="42">
                  <c:v>0.0013434149451817087</c:v>
                </c:pt>
                <c:pt idx="43">
                  <c:v>0.001288567749076078</c:v>
                </c:pt>
                <c:pt idx="44">
                  <c:v>0.0013378859939613828</c:v>
                </c:pt>
                <c:pt idx="45">
                  <c:v>0.0015612556232625393</c:v>
                </c:pt>
                <c:pt idx="46">
                  <c:v>0.0016172823289618394</c:v>
                </c:pt>
                <c:pt idx="47">
                  <c:v>0.0015734193159472557</c:v>
                </c:pt>
                <c:pt idx="48">
                  <c:v>0.0014797220226001372</c:v>
                </c:pt>
                <c:pt idx="49">
                  <c:v>0.001463356326987973</c:v>
                </c:pt>
                <c:pt idx="50">
                  <c:v>0.0013538093734759213</c:v>
                </c:pt>
                <c:pt idx="51">
                  <c:v>0.0013563158313624683</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4047210300429183</c:v>
                </c:pt>
                <c:pt idx="1">
                  <c:v>2.0929623787629628</c:v>
                </c:pt>
                <c:pt idx="2">
                  <c:v>2.043348623853211</c:v>
                </c:pt>
                <c:pt idx="3">
                  <c:v>2.2870649350649352</c:v>
                </c:pt>
                <c:pt idx="4">
                  <c:v>2.303442697893589</c:v>
                </c:pt>
                <c:pt idx="5">
                  <c:v>2.24930248383804</c:v>
                </c:pt>
                <c:pt idx="6">
                  <c:v>2.131261548798925</c:v>
                </c:pt>
                <c:pt idx="7">
                  <c:v>2.0675379056495458</c:v>
                </c:pt>
                <c:pt idx="8">
                  <c:v>2.0870861608060864</c:v>
                </c:pt>
                <c:pt idx="9">
                  <c:v>2.103140858592786</c:v>
                </c:pt>
                <c:pt idx="10">
                  <c:v>2.0869757024569022</c:v>
                </c:pt>
                <c:pt idx="11">
                  <c:v>1.8486527740907888</c:v>
                </c:pt>
                <c:pt idx="12">
                  <c:v>1.8414043184440414</c:v>
                </c:pt>
                <c:pt idx="13">
                  <c:v>1.8485067042585974</c:v>
                </c:pt>
                <c:pt idx="14">
                  <c:v>1.8046071440307583</c:v>
                </c:pt>
                <c:pt idx="15">
                  <c:v>1.5173939272069172</c:v>
                </c:pt>
                <c:pt idx="16">
                  <c:v>1.4905749293119699</c:v>
                </c:pt>
                <c:pt idx="17">
                  <c:v>1.4611760021237061</c:v>
                </c:pt>
                <c:pt idx="18">
                  <c:v>1.6070761637988529</c:v>
                </c:pt>
                <c:pt idx="19">
                  <c:v>1.5661543601737389</c:v>
                </c:pt>
                <c:pt idx="20">
                  <c:v>1.779671294080102</c:v>
                </c:pt>
                <c:pt idx="21">
                  <c:v>1.8095625304927632</c:v>
                </c:pt>
                <c:pt idx="22">
                  <c:v>1.2367366878358574</c:v>
                </c:pt>
                <c:pt idx="23">
                  <c:v>0.7868339558790665</c:v>
                </c:pt>
                <c:pt idx="24">
                  <c:v>0.8086816720257235</c:v>
                </c:pt>
                <c:pt idx="25">
                  <c:v>0.8067199793628272</c:v>
                </c:pt>
                <c:pt idx="26">
                  <c:v>0.839571679718715</c:v>
                </c:pt>
                <c:pt idx="27">
                  <c:v>0.8236779038185014</c:v>
                </c:pt>
                <c:pt idx="28">
                  <c:v>0.8260199164792805</c:v>
                </c:pt>
                <c:pt idx="29">
                  <c:v>0.8256978547428275</c:v>
                </c:pt>
                <c:pt idx="30">
                  <c:v>0.550223469154732</c:v>
                </c:pt>
                <c:pt idx="31">
                  <c:v>0.5111248053969901</c:v>
                </c:pt>
                <c:pt idx="32">
                  <c:v>0.5213225806451613</c:v>
                </c:pt>
                <c:pt idx="33">
                  <c:v>0.5373424488870169</c:v>
                </c:pt>
                <c:pt idx="34">
                  <c:v>0.5456372358356022</c:v>
                </c:pt>
                <c:pt idx="35">
                  <c:v>0.5603102779573368</c:v>
                </c:pt>
                <c:pt idx="36">
                  <c:v>0.5700626655468699</c:v>
                </c:pt>
                <c:pt idx="37">
                  <c:v>0.5780844155844156</c:v>
                </c:pt>
                <c:pt idx="38">
                  <c:v>0.6213890596189305</c:v>
                </c:pt>
                <c:pt idx="39">
                  <c:v>0.7137282724370344</c:v>
                </c:pt>
                <c:pt idx="40">
                  <c:v>0.8333495318625068</c:v>
                </c:pt>
                <c:pt idx="41">
                  <c:v>0.8756972369957192</c:v>
                </c:pt>
                <c:pt idx="42">
                  <c:v>0.949959592694359</c:v>
                </c:pt>
                <c:pt idx="43">
                  <c:v>1.0217817831132985</c:v>
                </c:pt>
                <c:pt idx="44">
                  <c:v>1.3562156593406594</c:v>
                </c:pt>
                <c:pt idx="45">
                  <c:v>1.665675273759632</c:v>
                </c:pt>
                <c:pt idx="46">
                  <c:v>1.8053085556332633</c:v>
                </c:pt>
                <c:pt idx="47">
                  <c:v>1.8696842245810803</c:v>
                </c:pt>
                <c:pt idx="48">
                  <c:v>1.8952199855747165</c:v>
                </c:pt>
                <c:pt idx="49">
                  <c:v>1.9034730538922155</c:v>
                </c:pt>
                <c:pt idx="50">
                  <c:v>1.6082056351952545</c:v>
                </c:pt>
                <c:pt idx="51">
                  <c:v>1.3624349874063655</c:v>
                </c:pt>
                <c:pt idx="52">
                  <c:v>0.9675693636816747</c:v>
                </c:pt>
                <c:pt idx="53">
                  <c:v>0.8231376510644668</c:v>
                </c:pt>
                <c:pt idx="54">
                  <c:v>0.7143220739555683</c:v>
                </c:pt>
                <c:pt idx="55">
                  <c:v>0.7784889857342276</c:v>
                </c:pt>
                <c:pt idx="56">
                  <c:v>0.9780841993072208</c:v>
                </c:pt>
                <c:pt idx="57">
                  <c:v>1.0952476104838977</c:v>
                </c:pt>
                <c:pt idx="58">
                  <c:v>1.2260208603176768</c:v>
                </c:pt>
                <c:pt idx="59">
                  <c:v>1.1599450199470314</c:v>
                </c:pt>
                <c:pt idx="60">
                  <c:v>1.2623344074471894</c:v>
                </c:pt>
                <c:pt idx="61">
                  <c:v>1.259085201793722</c:v>
                </c:pt>
                <c:pt idx="62">
                  <c:v>1.2310636856368564</c:v>
                </c:pt>
                <c:pt idx="63">
                  <c:v>1.3479706567941863</c:v>
                </c:pt>
                <c:pt idx="64">
                  <c:v>1.4061798135166406</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54025742845406</c:v>
                </c:pt>
                <c:pt idx="1">
                  <c:v>1.480295907079646</c:v>
                </c:pt>
                <c:pt idx="2">
                  <c:v>1.5238608320878662</c:v>
                </c:pt>
                <c:pt idx="3">
                  <c:v>1.5149287218252734</c:v>
                </c:pt>
                <c:pt idx="4">
                  <c:v>1.4545761795322427</c:v>
                </c:pt>
                <c:pt idx="5">
                  <c:v>1.485455988406197</c:v>
                </c:pt>
                <c:pt idx="6">
                  <c:v>1.5239284228048273</c:v>
                </c:pt>
                <c:pt idx="7">
                  <c:v>1.4066381660888008</c:v>
                </c:pt>
                <c:pt idx="8">
                  <c:v>1.4243564960830197</c:v>
                </c:pt>
                <c:pt idx="9">
                  <c:v>1.4591633117451426</c:v>
                </c:pt>
                <c:pt idx="10">
                  <c:v>1.5278789681064604</c:v>
                </c:pt>
                <c:pt idx="11">
                  <c:v>1.4193164427818397</c:v>
                </c:pt>
                <c:pt idx="12">
                  <c:v>1.4151295266512953</c:v>
                </c:pt>
                <c:pt idx="13">
                  <c:v>1.4248363819432792</c:v>
                </c:pt>
                <c:pt idx="14">
                  <c:v>1.4056773013472157</c:v>
                </c:pt>
                <c:pt idx="15">
                  <c:v>1.427503328667509</c:v>
                </c:pt>
                <c:pt idx="16">
                  <c:v>1.387687810184241</c:v>
                </c:pt>
                <c:pt idx="17">
                  <c:v>1.4099911738746689</c:v>
                </c:pt>
                <c:pt idx="18">
                  <c:v>1.368700814579594</c:v>
                </c:pt>
                <c:pt idx="19">
                  <c:v>1.3626985482493594</c:v>
                </c:pt>
                <c:pt idx="20">
                  <c:v>1.3796549835706462</c:v>
                </c:pt>
                <c:pt idx="21">
                  <c:v>1.399586990191017</c:v>
                </c:pt>
                <c:pt idx="22">
                  <c:v>1.4170249653259364</c:v>
                </c:pt>
                <c:pt idx="23">
                  <c:v>1.3231432088633568</c:v>
                </c:pt>
                <c:pt idx="24">
                  <c:v>1.3854537976418975</c:v>
                </c:pt>
                <c:pt idx="25">
                  <c:v>1.3694462607977425</c:v>
                </c:pt>
                <c:pt idx="26">
                  <c:v>1.368733894519842</c:v>
                </c:pt>
                <c:pt idx="27">
                  <c:v>1.3328118481435127</c:v>
                </c:pt>
                <c:pt idx="28">
                  <c:v>1.3559636813867106</c:v>
                </c:pt>
                <c:pt idx="29">
                  <c:v>1.3365028147741316</c:v>
                </c:pt>
                <c:pt idx="30">
                  <c:v>1.3292904999141042</c:v>
                </c:pt>
                <c:pt idx="31">
                  <c:v>1.3078518825847942</c:v>
                </c:pt>
                <c:pt idx="32">
                  <c:v>1.3019173262972736</c:v>
                </c:pt>
                <c:pt idx="33">
                  <c:v>0.8354284517075216</c:v>
                </c:pt>
                <c:pt idx="34">
                  <c:v>1.0833333333333333</c:v>
                </c:pt>
                <c:pt idx="35">
                  <c:v>1.2305010739814781</c:v>
                </c:pt>
                <c:pt idx="36">
                  <c:v>1.1829954954954955</c:v>
                </c:pt>
                <c:pt idx="37">
                  <c:v>1.0883224659158268</c:v>
                </c:pt>
                <c:pt idx="38">
                  <c:v>1.2081911262798635</c:v>
                </c:pt>
                <c:pt idx="39">
                  <c:v>1.409204902688001</c:v>
                </c:pt>
                <c:pt idx="40">
                  <c:v>1.1897710565007351</c:v>
                </c:pt>
                <c:pt idx="41">
                  <c:v>1.2972307013350004</c:v>
                </c:pt>
                <c:pt idx="42">
                  <c:v>1.410171706537917</c:v>
                </c:pt>
                <c:pt idx="43">
                  <c:v>1.4450487279629156</c:v>
                </c:pt>
                <c:pt idx="44">
                  <c:v>1.4446754018039418</c:v>
                </c:pt>
                <c:pt idx="45">
                  <c:v>1.3192310519738293</c:v>
                </c:pt>
                <c:pt idx="46">
                  <c:v>1.2670778330808627</c:v>
                </c:pt>
                <c:pt idx="47">
                  <c:v>1.399263669121103</c:v>
                </c:pt>
                <c:pt idx="48">
                  <c:v>1.4767492915020157</c:v>
                </c:pt>
                <c:pt idx="49">
                  <c:v>1.3404040767817915</c:v>
                </c:pt>
                <c:pt idx="50">
                  <c:v>1.389517142344283</c:v>
                </c:pt>
                <c:pt idx="51">
                  <c:v>1.394051910598414</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6.089748002547821</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6.089748002547821</c:v>
                </c:pt>
                <c:pt idx="1">
                  <c:v>-6.089748002547821</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180540702954281</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180540702954281</c:v>
                </c:pt>
                <c:pt idx="1">
                  <c:v>1.180540702954281</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1805407029542814</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1805407029542814</c:v>
                </c:pt>
                <c:pt idx="1">
                  <c:v>1.1805407029542814</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54025742845406</c:v>
                </c:pt>
                <c:pt idx="1">
                  <c:v>1.480295907079646</c:v>
                </c:pt>
                <c:pt idx="2">
                  <c:v>1.5238608320878662</c:v>
                </c:pt>
                <c:pt idx="3">
                  <c:v>1.5149287218252734</c:v>
                </c:pt>
                <c:pt idx="4">
                  <c:v>1.4545761795322427</c:v>
                </c:pt>
                <c:pt idx="5">
                  <c:v>1.485455988406197</c:v>
                </c:pt>
                <c:pt idx="6">
                  <c:v>1.5239284228048273</c:v>
                </c:pt>
                <c:pt idx="7">
                  <c:v>1.4066381660888008</c:v>
                </c:pt>
                <c:pt idx="8">
                  <c:v>1.4243564960830197</c:v>
                </c:pt>
                <c:pt idx="9">
                  <c:v>1.4591633117451426</c:v>
                </c:pt>
                <c:pt idx="10">
                  <c:v>1.5278789681064604</c:v>
                </c:pt>
                <c:pt idx="11">
                  <c:v>1.4193164427818397</c:v>
                </c:pt>
                <c:pt idx="12">
                  <c:v>1.4151295266512953</c:v>
                </c:pt>
                <c:pt idx="13">
                  <c:v>1.4248363819432792</c:v>
                </c:pt>
                <c:pt idx="14">
                  <c:v>1.4056773013472157</c:v>
                </c:pt>
                <c:pt idx="15">
                  <c:v>1.427503328667509</c:v>
                </c:pt>
                <c:pt idx="16">
                  <c:v>1.387687810184241</c:v>
                </c:pt>
                <c:pt idx="17">
                  <c:v>1.4099911738746689</c:v>
                </c:pt>
                <c:pt idx="18">
                  <c:v>1.368700814579594</c:v>
                </c:pt>
                <c:pt idx="19">
                  <c:v>1.3626985482493594</c:v>
                </c:pt>
                <c:pt idx="20">
                  <c:v>1.3796549835706462</c:v>
                </c:pt>
                <c:pt idx="21">
                  <c:v>1.399586990191017</c:v>
                </c:pt>
                <c:pt idx="22">
                  <c:v>1.4170249653259364</c:v>
                </c:pt>
                <c:pt idx="23">
                  <c:v>1.3231432088633568</c:v>
                </c:pt>
                <c:pt idx="24">
                  <c:v>1.3854537976418975</c:v>
                </c:pt>
                <c:pt idx="25">
                  <c:v>1.3694462607977425</c:v>
                </c:pt>
                <c:pt idx="26">
                  <c:v>1.368733894519842</c:v>
                </c:pt>
                <c:pt idx="27">
                  <c:v>1.3328118481435127</c:v>
                </c:pt>
                <c:pt idx="28">
                  <c:v>1.3559636813867106</c:v>
                </c:pt>
                <c:pt idx="29">
                  <c:v>1.3365028147741316</c:v>
                </c:pt>
                <c:pt idx="30">
                  <c:v>1.3292904999141042</c:v>
                </c:pt>
                <c:pt idx="31">
                  <c:v>1.3078518825847942</c:v>
                </c:pt>
                <c:pt idx="32">
                  <c:v>1.3019173262972736</c:v>
                </c:pt>
                <c:pt idx="33">
                  <c:v>0.8354284517075216</c:v>
                </c:pt>
                <c:pt idx="34">
                  <c:v>1.0833333333333333</c:v>
                </c:pt>
                <c:pt idx="35">
                  <c:v>1.2305010739814781</c:v>
                </c:pt>
                <c:pt idx="36">
                  <c:v>1.1829954954954955</c:v>
                </c:pt>
                <c:pt idx="37">
                  <c:v>1.0883224659158268</c:v>
                </c:pt>
                <c:pt idx="38">
                  <c:v>1.2081911262798635</c:v>
                </c:pt>
                <c:pt idx="39">
                  <c:v>1.409204902688001</c:v>
                </c:pt>
                <c:pt idx="40">
                  <c:v>1.1897710565007351</c:v>
                </c:pt>
                <c:pt idx="41">
                  <c:v>1.2972307013350004</c:v>
                </c:pt>
                <c:pt idx="42">
                  <c:v>1.410171706537917</c:v>
                </c:pt>
                <c:pt idx="43">
                  <c:v>1.4450487279629156</c:v>
                </c:pt>
                <c:pt idx="44">
                  <c:v>1.4446754018039418</c:v>
                </c:pt>
                <c:pt idx="45">
                  <c:v>1.3192310519738293</c:v>
                </c:pt>
                <c:pt idx="46">
                  <c:v>1.2670778330808627</c:v>
                </c:pt>
                <c:pt idx="47">
                  <c:v>1.399263669121103</c:v>
                </c:pt>
                <c:pt idx="48">
                  <c:v>1.4767492915020157</c:v>
                </c:pt>
                <c:pt idx="49">
                  <c:v>1.3404040767817915</c:v>
                </c:pt>
                <c:pt idx="50">
                  <c:v>1.389517142344283</c:v>
                </c:pt>
                <c:pt idx="51">
                  <c:v>1.394051910598414</c:v>
                </c:pt>
                <c:pt idx="52">
                  <c:v>1.180540702954281</c:v>
                </c:pt>
                <c:pt idx="53">
                  <c:v>-6.089748002547821</c:v>
                </c:pt>
                <c:pt idx="54">
                  <c:v>1.1805407029542814</c:v>
                </c:pt>
              </c:numCache>
            </c:numRef>
          </c:xVal>
          <c:yVal>
            <c:numRef>
              <c:f>Sheet1!$B$147:$B$201</c:f>
              <c:numCache>
                <c:formatCode>General</c:formatCode>
                <c:ptCount val="55"/>
                <c:pt idx="0">
                  <c:v>0.001178819580456967</c:v>
                </c:pt>
                <c:pt idx="1">
                  <c:v>0.0011328120604516224</c:v>
                </c:pt>
                <c:pt idx="2">
                  <c:v>0.0010565158431544864</c:v>
                </c:pt>
                <c:pt idx="3">
                  <c:v>0.0010721588455328483</c:v>
                </c:pt>
                <c:pt idx="4">
                  <c:v>0.0011778555885056602</c:v>
                </c:pt>
                <c:pt idx="5">
                  <c:v>0.0011237750958272793</c:v>
                </c:pt>
                <c:pt idx="6">
                  <c:v>0.0010563974700360298</c:v>
                </c:pt>
                <c:pt idx="7">
                  <c:v>0.0012618104923597068</c:v>
                </c:pt>
                <c:pt idx="8">
                  <c:v>0.0012307799889185503</c:v>
                </c:pt>
                <c:pt idx="9">
                  <c:v>0.0011698220423439244</c:v>
                </c:pt>
                <c:pt idx="10">
                  <c:v>0.0010494787926202255</c:v>
                </c:pt>
                <c:pt idx="11">
                  <c:v>0.0012396067458057352</c:v>
                </c:pt>
                <c:pt idx="12">
                  <c:v>0.0012469393846853065</c:v>
                </c:pt>
                <c:pt idx="13">
                  <c:v>0.0012299395541911806</c:v>
                </c:pt>
                <c:pt idx="14">
                  <c:v>0.0012634932760464297</c:v>
                </c:pt>
                <c:pt idx="15">
                  <c:v>0.0012252688713711522</c:v>
                </c:pt>
                <c:pt idx="16">
                  <c:v>0.0012949986700434638</c:v>
                </c:pt>
                <c:pt idx="17">
                  <c:v>0.0012559382956192945</c:v>
                </c:pt>
                <c:pt idx="18">
                  <c:v>0.0013282510156448525</c:v>
                </c:pt>
                <c:pt idx="19">
                  <c:v>0.0013387629175044438</c:v>
                </c:pt>
                <c:pt idx="20">
                  <c:v>0.001309066737065395</c:v>
                </c:pt>
                <c:pt idx="21">
                  <c:v>0.0012741593727582413</c:v>
                </c:pt>
                <c:pt idx="22">
                  <c:v>0.001243619860986677</c:v>
                </c:pt>
                <c:pt idx="23">
                  <c:v>0.0014080370587657215</c:v>
                </c:pt>
                <c:pt idx="24">
                  <c:v>0.0012989111456495391</c:v>
                </c:pt>
                <c:pt idx="25">
                  <c:v>0.0013269454991856264</c:v>
                </c:pt>
                <c:pt idx="26">
                  <c:v>0.0013281930820134079</c:v>
                </c:pt>
                <c:pt idx="27">
                  <c:v>0.0013911041568188637</c:v>
                </c:pt>
                <c:pt idx="28">
                  <c:v>0.0013505578388895482</c:v>
                </c:pt>
                <c:pt idx="29">
                  <c:v>0.0013846400852743118</c:v>
                </c:pt>
                <c:pt idx="30">
                  <c:v>0.001397271171903571</c:v>
                </c:pt>
                <c:pt idx="31">
                  <c:v>0.0014348170968879145</c:v>
                </c:pt>
                <c:pt idx="32">
                  <c:v>0.001445210416651218</c:v>
                </c:pt>
                <c:pt idx="33">
                  <c:v>0.0022621827065307607</c:v>
                </c:pt>
                <c:pt idx="34">
                  <c:v>0.0018280214009856496</c:v>
                </c:pt>
                <c:pt idx="35">
                  <c:v>0.001570283279836565</c:v>
                </c:pt>
                <c:pt idx="36">
                  <c:v>0.0016534808507794457</c:v>
                </c:pt>
                <c:pt idx="37">
                  <c:v>0.0018192838226800212</c:v>
                </c:pt>
                <c:pt idx="38">
                  <c:v>0.0016093551849852357</c:v>
                </c:pt>
                <c:pt idx="39">
                  <c:v>0.0012573153097493813</c:v>
                </c:pt>
                <c:pt idx="40">
                  <c:v>0.0016416146608418248</c:v>
                </c:pt>
                <c:pt idx="41">
                  <c:v>0.0014534182066667936</c:v>
                </c:pt>
                <c:pt idx="42">
                  <c:v>0.001255622124770801</c:v>
                </c:pt>
                <c:pt idx="43">
                  <c:v>0.0011945412252899346</c:v>
                </c:pt>
                <c:pt idx="44">
                  <c:v>0.0011951950396541827</c:v>
                </c:pt>
                <c:pt idx="45">
                  <c:v>0.0014148885057058357</c:v>
                </c:pt>
                <c:pt idx="46">
                  <c:v>0.0015062255921498516</c:v>
                </c:pt>
                <c:pt idx="47">
                  <c:v>0.0012747256121033628</c:v>
                </c:pt>
                <c:pt idx="48">
                  <c:v>0.001139023326802459</c:v>
                </c:pt>
                <c:pt idx="49">
                  <c:v>0.0013778077187819255</c:v>
                </c:pt>
                <c:pt idx="50">
                  <c:v>0.0012917949201468474</c:v>
                </c:pt>
                <c:pt idx="51">
                  <c:v>0.0012838530801449637</c:v>
                </c:pt>
                <c:pt idx="52">
                  <c:v>0.0016577799832836007</c:v>
                </c:pt>
                <c:pt idx="53">
                  <c:v>0.014390397491135125</c:v>
                </c:pt>
                <c:pt idx="54">
                  <c:v>0.001657779983283599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6269876665046213</c:v>
                </c:pt>
                <c:pt idx="1">
                  <c:v>0.0006287163546788974</c:v>
                </c:pt>
                <c:pt idx="2">
                  <c:v>0.0007006268725764081</c:v>
                </c:pt>
                <c:pt idx="3">
                  <c:v>0.0008910748734279526</c:v>
                </c:pt>
                <c:pt idx="4">
                  <c:v>0.0008785618296734797</c:v>
                </c:pt>
                <c:pt idx="5">
                  <c:v>0.0010318701448615727</c:v>
                </c:pt>
                <c:pt idx="6">
                  <c:v>0.001050836243043367</c:v>
                </c:pt>
                <c:pt idx="7">
                  <c:v>0.0010707162191670807</c:v>
                </c:pt>
                <c:pt idx="8">
                  <c:v>0.001103299691696392</c:v>
                </c:pt>
                <c:pt idx="9">
                  <c:v>0.0010628309403090317</c:v>
                </c:pt>
                <c:pt idx="10">
                  <c:v>0.0011128390235550926</c:v>
                </c:pt>
                <c:pt idx="11">
                  <c:v>0.00217274215109525</c:v>
                </c:pt>
                <c:pt idx="12">
                  <c:v>0.0030190132732114657</c:v>
                </c:pt>
                <c:pt idx="13">
                  <c:v>0.0027628390411958774</c:v>
                </c:pt>
                <c:pt idx="14">
                  <c:v>0.0034812254340533173</c:v>
                </c:pt>
                <c:pt idx="15">
                  <c:v>0.005906663923407128</c:v>
                </c:pt>
                <c:pt idx="16">
                  <c:v>0.011445738183939458</c:v>
                </c:pt>
                <c:pt idx="17">
                  <c:v>0.009617079207381347</c:v>
                </c:pt>
                <c:pt idx="18">
                  <c:v>0.003487329671776015</c:v>
                </c:pt>
                <c:pt idx="19">
                  <c:v>0.003861315529741009</c:v>
                </c:pt>
                <c:pt idx="20">
                  <c:v>0.0022738161821582435</c:v>
                </c:pt>
                <c:pt idx="21">
                  <c:v>0.0022463962378111604</c:v>
                </c:pt>
                <c:pt idx="22">
                  <c:v>0.004564675773215433</c:v>
                </c:pt>
                <c:pt idx="23">
                  <c:v>0.013207644917994569</c:v>
                </c:pt>
                <c:pt idx="24">
                  <c:v>0.009859160717881699</c:v>
                </c:pt>
                <c:pt idx="25">
                  <c:v>0.008859410793244898</c:v>
                </c:pt>
                <c:pt idx="26">
                  <c:v>0.0075783777650225434</c:v>
                </c:pt>
                <c:pt idx="27">
                  <c:v>0.007894734596699442</c:v>
                </c:pt>
                <c:pt idx="28">
                  <c:v>0.007995286217900771</c:v>
                </c:pt>
                <c:pt idx="29">
                  <c:v>0.00783522009535784</c:v>
                </c:pt>
                <c:pt idx="30">
                  <c:v>0.020873561290682675</c:v>
                </c:pt>
                <c:pt idx="31">
                  <c:v>0.025420419574203656</c:v>
                </c:pt>
                <c:pt idx="32">
                  <c:v>0.020832546260339486</c:v>
                </c:pt>
                <c:pt idx="33">
                  <c:v>0.02006748322203087</c:v>
                </c:pt>
                <c:pt idx="34">
                  <c:v>0.017688934724114886</c:v>
                </c:pt>
                <c:pt idx="35">
                  <c:v>0.014674069578713861</c:v>
                </c:pt>
                <c:pt idx="36">
                  <c:v>0.014299104305777044</c:v>
                </c:pt>
                <c:pt idx="37">
                  <c:v>0.013056018960668653</c:v>
                </c:pt>
                <c:pt idx="38">
                  <c:v>0.010311492791268613</c:v>
                </c:pt>
                <c:pt idx="39">
                  <c:v>0.0075861512388023565</c:v>
                </c:pt>
                <c:pt idx="40">
                  <c:v>0.006532737765753755</c:v>
                </c:pt>
                <c:pt idx="41">
                  <c:v>0.006314159864003649</c:v>
                </c:pt>
                <c:pt idx="42">
                  <c:v>0.005758756024203053</c:v>
                </c:pt>
                <c:pt idx="43">
                  <c:v>0.004950698526546601</c:v>
                </c:pt>
                <c:pt idx="44">
                  <c:v>0.00352492917305895</c:v>
                </c:pt>
                <c:pt idx="45">
                  <c:v>0.0027698796571224726</c:v>
                </c:pt>
                <c:pt idx="46">
                  <c:v>0.0030757862528627087</c:v>
                </c:pt>
                <c:pt idx="47">
                  <c:v>0.0025656332839297637</c:v>
                </c:pt>
                <c:pt idx="48">
                  <c:v>0.0029200188040419744</c:v>
                </c:pt>
                <c:pt idx="49">
                  <c:v>0.004317501989382911</c:v>
                </c:pt>
                <c:pt idx="50">
                  <c:v>0.00914516245939615</c:v>
                </c:pt>
                <c:pt idx="51">
                  <c:v>0.017090337928073573</c:v>
                </c:pt>
                <c:pt idx="52">
                  <c:v>0.007288953173289811</c:v>
                </c:pt>
                <c:pt idx="53">
                  <c:v>0.00838989783825791</c:v>
                </c:pt>
                <c:pt idx="54">
                  <c:v>0.007546728581141558</c:v>
                </c:pt>
                <c:pt idx="55">
                  <c:v>0.004191650109385878</c:v>
                </c:pt>
                <c:pt idx="56">
                  <c:v>0.0020769983942349117</c:v>
                </c:pt>
                <c:pt idx="57">
                  <c:v>0.0015096512526523744</c:v>
                </c:pt>
                <c:pt idx="58">
                  <c:v>0.0012518187076436468</c:v>
                </c:pt>
                <c:pt idx="59">
                  <c:v>0.0011820769720555862</c:v>
                </c:pt>
                <c:pt idx="60">
                  <c:v>0.001242998718905098</c:v>
                </c:pt>
                <c:pt idx="61">
                  <c:v>0.0012947864857111384</c:v>
                </c:pt>
                <c:pt idx="62">
                  <c:v>0.001286062815733863</c:v>
                </c:pt>
                <c:pt idx="63">
                  <c:v>0.0012764717838539088</c:v>
                </c:pt>
                <c:pt idx="64">
                  <c:v>0.001162138200993837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10733274788198126</c:v>
                </c:pt>
                <c:pt idx="1">
                  <c:v>0.0010947212765571625</c:v>
                </c:pt>
                <c:pt idx="2">
                  <c:v>0.0011240683427324856</c:v>
                </c:pt>
                <c:pt idx="3">
                  <c:v>0.0011214738046811659</c:v>
                </c:pt>
                <c:pt idx="4">
                  <c:v>0.0011153534829023931</c:v>
                </c:pt>
                <c:pt idx="5">
                  <c:v>0.0011340871686534417</c:v>
                </c:pt>
                <c:pt idx="6">
                  <c:v>0.0010687406907436494</c:v>
                </c:pt>
                <c:pt idx="7">
                  <c:v>0.0010835719270367878</c:v>
                </c:pt>
                <c:pt idx="8">
                  <c:v>0.0011734363482673277</c:v>
                </c:pt>
                <c:pt idx="9">
                  <c:v>0.0011304648515343032</c:v>
                </c:pt>
                <c:pt idx="10">
                  <c:v>0.0011283329582459775</c:v>
                </c:pt>
                <c:pt idx="11">
                  <c:v>0.0011312562095557505</c:v>
                </c:pt>
                <c:pt idx="12">
                  <c:v>0.0011021617430201653</c:v>
                </c:pt>
                <c:pt idx="13">
                  <c:v>0.0010404403303030465</c:v>
                </c:pt>
                <c:pt idx="14">
                  <c:v>0.0011912053460089644</c:v>
                </c:pt>
                <c:pt idx="15">
                  <c:v>0.001209622114759248</c:v>
                </c:pt>
                <c:pt idx="16">
                  <c:v>0.0011639295077078232</c:v>
                </c:pt>
                <c:pt idx="17">
                  <c:v>0.00110946951348706</c:v>
                </c:pt>
                <c:pt idx="18">
                  <c:v>0.0011993303668451408</c:v>
                </c:pt>
                <c:pt idx="19">
                  <c:v>0.0011567712102682984</c:v>
                </c:pt>
                <c:pt idx="20">
                  <c:v>0.001110220896362389</c:v>
                </c:pt>
                <c:pt idx="21">
                  <c:v>0.0011075515075128618</c:v>
                </c:pt>
                <c:pt idx="22">
                  <c:v>0.0010736839157978104</c:v>
                </c:pt>
                <c:pt idx="23">
                  <c:v>0.0011837304799886786</c:v>
                </c:pt>
                <c:pt idx="24">
                  <c:v>0.0011280215891850494</c:v>
                </c:pt>
                <c:pt idx="25">
                  <c:v>0.0011620984050306215</c:v>
                </c:pt>
                <c:pt idx="26">
                  <c:v>0.0011285730178485756</c:v>
                </c:pt>
                <c:pt idx="27">
                  <c:v>0.001265803545101091</c:v>
                </c:pt>
                <c:pt idx="28">
                  <c:v>0.0012192916575169816</c:v>
                </c:pt>
                <c:pt idx="29">
                  <c:v>0.0012093560135839159</c:v>
                </c:pt>
                <c:pt idx="30">
                  <c:v>0.0011491284523384969</c:v>
                </c:pt>
                <c:pt idx="31">
                  <c:v>0.0012320270902683895</c:v>
                </c:pt>
                <c:pt idx="32">
                  <c:v>0.001407698319851532</c:v>
                </c:pt>
                <c:pt idx="33">
                  <c:v>0.002786433743216886</c:v>
                </c:pt>
                <c:pt idx="34">
                  <c:v>0.001617899878646485</c:v>
                </c:pt>
                <c:pt idx="35">
                  <c:v>0.0013745246178135024</c:v>
                </c:pt>
                <c:pt idx="36">
                  <c:v>0.0014450416764041443</c:v>
                </c:pt>
                <c:pt idx="37">
                  <c:v>0.0017031001050950387</c:v>
                </c:pt>
                <c:pt idx="38">
                  <c:v>0.0011475012561957868</c:v>
                </c:pt>
                <c:pt idx="39">
                  <c:v>0.0012402828734301543</c:v>
                </c:pt>
                <c:pt idx="40">
                  <c:v>0.0016051106388443204</c:v>
                </c:pt>
                <c:pt idx="41">
                  <c:v>0.0017516870315127816</c:v>
                </c:pt>
                <c:pt idx="42">
                  <c:v>0.0016968115262089307</c:v>
                </c:pt>
                <c:pt idx="43">
                  <c:v>0.0016243601532470128</c:v>
                </c:pt>
                <c:pt idx="44">
                  <c:v>0.0017069716072601194</c:v>
                </c:pt>
                <c:pt idx="45">
                  <c:v>0.002112750786573494</c:v>
                </c:pt>
                <c:pt idx="46">
                  <c:v>0.0020198933790098557</c:v>
                </c:pt>
                <c:pt idx="47">
                  <c:v>0.001863239258400176</c:v>
                </c:pt>
                <c:pt idx="48">
                  <c:v>0.0015400996480876019</c:v>
                </c:pt>
                <c:pt idx="49">
                  <c:v>0.0015273475798046503</c:v>
                </c:pt>
                <c:pt idx="50">
                  <c:v>0.0014022749278447592</c:v>
                </c:pt>
                <c:pt idx="51">
                  <c:v>0.001460310372462947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3.813579129329916</c:v>
                </c:pt>
              </c:numCache>
            </c:numRef>
          </c:xVal>
          <c:yVal>
            <c:numRef>
              <c:f>Sheet1!$B$123:$B$124</c:f>
              <c:numCache>
                <c:formatCode>General</c:formatCode>
                <c:ptCount val="2"/>
                <c:pt idx="0">
                  <c:v>0.014390397491135125</c:v>
                </c:pt>
                <c:pt idx="1">
                  <c:v>0.0143903974911351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3.813579129329916</c:v>
                </c:pt>
                <c:pt idx="1">
                  <c:v>-13.813579129329916</c:v>
                </c:pt>
              </c:numCache>
            </c:numRef>
          </c:xVal>
          <c:yVal>
            <c:numRef>
              <c:f>Sheet1!$B$127:$B$128</c:f>
              <c:numCache>
                <c:formatCode>General</c:formatCode>
                <c:ptCount val="2"/>
                <c:pt idx="0">
                  <c:v>0.0143903974911351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4581650954747767</c:v>
                </c:pt>
              </c:numCache>
            </c:numRef>
          </c:xVal>
          <c:yVal>
            <c:numRef>
              <c:f>Sheet1!$B$131:$B$132</c:f>
              <c:numCache>
                <c:formatCode>General</c:formatCode>
                <c:ptCount val="2"/>
                <c:pt idx="0">
                  <c:v>0.0016577799832836004</c:v>
                </c:pt>
                <c:pt idx="1">
                  <c:v>0.0016577799832836004</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4581650954747767</c:v>
                </c:pt>
                <c:pt idx="1">
                  <c:v>3.4581650954747767</c:v>
                </c:pt>
              </c:numCache>
            </c:numRef>
          </c:xVal>
          <c:yVal>
            <c:numRef>
              <c:f>Sheet1!$B$135:$B$136</c:f>
              <c:numCache>
                <c:formatCode>General</c:formatCode>
                <c:ptCount val="2"/>
                <c:pt idx="0">
                  <c:v>0.001657779983283600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4581650954747767</c:v>
                </c:pt>
              </c:numCache>
            </c:numRef>
          </c:xVal>
          <c:yVal>
            <c:numRef>
              <c:f>Sheet1!$B$139:$B$140</c:f>
              <c:numCache>
                <c:formatCode>General</c:formatCode>
                <c:ptCount val="2"/>
                <c:pt idx="0">
                  <c:v>0.0016577799832836</c:v>
                </c:pt>
                <c:pt idx="1">
                  <c:v>0.001657779983283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4581650954747767</c:v>
                </c:pt>
                <c:pt idx="1">
                  <c:v>3.4581650954747767</c:v>
                </c:pt>
              </c:numCache>
            </c:numRef>
          </c:xVal>
          <c:yVal>
            <c:numRef>
              <c:f>Sheet1!$B$143:$B$144</c:f>
              <c:numCache>
                <c:formatCode>General</c:formatCode>
                <c:ptCount val="2"/>
                <c:pt idx="0">
                  <c:v>0.001657779983283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4581650954747767</c:v>
                </c:pt>
                <c:pt idx="53">
                  <c:v>-13.813579129329916</c:v>
                </c:pt>
                <c:pt idx="54">
                  <c:v>3.4581650954747767</c:v>
                </c:pt>
              </c:numCache>
            </c:numRef>
          </c:xVal>
          <c:yVal>
            <c:numRef>
              <c:f>Sheet1!$B$147:$B$201</c:f>
              <c:numCache>
                <c:formatCode>General</c:formatCode>
                <c:ptCount val="55"/>
                <c:pt idx="0">
                  <c:v>0.001075887425467552</c:v>
                </c:pt>
                <c:pt idx="1">
                  <c:v>0.001050306811154845</c:v>
                </c:pt>
                <c:pt idx="2">
                  <c:v>0.000975039355208812</c:v>
                </c:pt>
                <c:pt idx="3">
                  <c:v>0.0009716482651270122</c:v>
                </c:pt>
                <c:pt idx="4">
                  <c:v>0.001034383431640307</c:v>
                </c:pt>
                <c:pt idx="5">
                  <c:v>0.0010334987994450552</c:v>
                </c:pt>
                <c:pt idx="6">
                  <c:v>0.0009675937008987731</c:v>
                </c:pt>
                <c:pt idx="7">
                  <c:v>0.0011266063379953388</c:v>
                </c:pt>
                <c:pt idx="8">
                  <c:v>0.0011109041165296139</c:v>
                </c:pt>
                <c:pt idx="9">
                  <c:v>0.001134420589053399</c:v>
                </c:pt>
                <c:pt idx="10">
                  <c:v>0.001177030373124709</c:v>
                </c:pt>
                <c:pt idx="11">
                  <c:v>0.0011304397441747648</c:v>
                </c:pt>
                <c:pt idx="12">
                  <c:v>0.0011304397441747648</c:v>
                </c:pt>
                <c:pt idx="13">
                  <c:v>0.0010775092511588467</c:v>
                </c:pt>
                <c:pt idx="14">
                  <c:v>0.001261144151023263</c:v>
                </c:pt>
                <c:pt idx="15">
                  <c:v>0.0011246896349056258</c:v>
                </c:pt>
                <c:pt idx="16">
                  <c:v>0.0011976717910139245</c:v>
                </c:pt>
                <c:pt idx="17">
                  <c:v>0.0012629134154137672</c:v>
                </c:pt>
                <c:pt idx="18">
                  <c:v>0.0012838497107014006</c:v>
                </c:pt>
                <c:pt idx="19">
                  <c:v>0.0012662307861459627</c:v>
                </c:pt>
                <c:pt idx="20">
                  <c:v>0.0012356372560601604</c:v>
                </c:pt>
                <c:pt idx="21">
                  <c:v>0.0012093194482514107</c:v>
                </c:pt>
                <c:pt idx="22">
                  <c:v>0.0011944281396313334</c:v>
                </c:pt>
                <c:pt idx="23">
                  <c:v>0.0013546202863215684</c:v>
                </c:pt>
                <c:pt idx="24">
                  <c:v>0.0012272332502052657</c:v>
                </c:pt>
                <c:pt idx="25">
                  <c:v>0.0012736764404560012</c:v>
                </c:pt>
                <c:pt idx="26">
                  <c:v>0.0012703590697238061</c:v>
                </c:pt>
                <c:pt idx="27">
                  <c:v>0.001380938094130319</c:v>
                </c:pt>
                <c:pt idx="28">
                  <c:v>0.00130065772241119</c:v>
                </c:pt>
                <c:pt idx="29">
                  <c:v>0.0013368539230669222</c:v>
                </c:pt>
                <c:pt idx="30">
                  <c:v>0.0013549888830695907</c:v>
                </c:pt>
                <c:pt idx="31">
                  <c:v>0.001418534962428533</c:v>
                </c:pt>
                <c:pt idx="32">
                  <c:v>0.001478984829104094</c:v>
                </c:pt>
                <c:pt idx="33">
                  <c:v>0.002443381360628096</c:v>
                </c:pt>
                <c:pt idx="34">
                  <c:v>0.0018696973820071065</c:v>
                </c:pt>
                <c:pt idx="35">
                  <c:v>0.001630994127988247</c:v>
                </c:pt>
                <c:pt idx="36">
                  <c:v>0.0017289671436124176</c:v>
                </c:pt>
                <c:pt idx="37">
                  <c:v>0.0019061884600612557</c:v>
                </c:pt>
                <c:pt idx="38">
                  <c:v>0.0015974518239182714</c:v>
                </c:pt>
                <c:pt idx="39">
                  <c:v>0.0012660096280971496</c:v>
                </c:pt>
                <c:pt idx="40">
                  <c:v>0.0017016172649092069</c:v>
                </c:pt>
                <c:pt idx="41">
                  <c:v>0.001606814181318023</c:v>
                </c:pt>
                <c:pt idx="42">
                  <c:v>0.0013434149451817087</c:v>
                </c:pt>
                <c:pt idx="43">
                  <c:v>0.001288567749076078</c:v>
                </c:pt>
                <c:pt idx="44">
                  <c:v>0.0013378859939613828</c:v>
                </c:pt>
                <c:pt idx="45">
                  <c:v>0.0015612556232625393</c:v>
                </c:pt>
                <c:pt idx="46">
                  <c:v>0.0016172823289618394</c:v>
                </c:pt>
                <c:pt idx="47">
                  <c:v>0.0015734193159472557</c:v>
                </c:pt>
                <c:pt idx="48">
                  <c:v>0.0014797220226001372</c:v>
                </c:pt>
                <c:pt idx="49">
                  <c:v>0.001463356326987973</c:v>
                </c:pt>
                <c:pt idx="50">
                  <c:v>0.0013538093734759213</c:v>
                </c:pt>
                <c:pt idx="51">
                  <c:v>0.0013563158313624683</c:v>
                </c:pt>
                <c:pt idx="52">
                  <c:v>0.0016577799832836002</c:v>
                </c:pt>
                <c:pt idx="53">
                  <c:v>0.014390397491135125</c:v>
                </c:pt>
                <c:pt idx="54">
                  <c:v>0.001657779983283600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0504503489044387"/>
          <c:min val="0.0005015901332036971"/>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549118238844834</c:v>
                </c:pt>
                <c:pt idx="1">
                  <c:v>1.5254498106060606</c:v>
                </c:pt>
                <c:pt idx="2">
                  <c:v>1.4374040392110545</c:v>
                </c:pt>
                <c:pt idx="3">
                  <c:v>1.5123546936152812</c:v>
                </c:pt>
                <c:pt idx="4">
                  <c:v>1.5822214520880262</c:v>
                </c:pt>
                <c:pt idx="5">
                  <c:v>1.6202772963604852</c:v>
                </c:pt>
                <c:pt idx="6">
                  <c:v>1.6791520652611018</c:v>
                </c:pt>
                <c:pt idx="7">
                  <c:v>1.7543690967705448</c:v>
                </c:pt>
                <c:pt idx="8">
                  <c:v>1.7594078426940896</c:v>
                </c:pt>
                <c:pt idx="9">
                  <c:v>1.7746662140755824</c:v>
                </c:pt>
                <c:pt idx="10">
                  <c:v>1.7936632773439694</c:v>
                </c:pt>
                <c:pt idx="11">
                  <c:v>1.721085844848221</c:v>
                </c:pt>
                <c:pt idx="12">
                  <c:v>1.7888069365463655</c:v>
                </c:pt>
                <c:pt idx="13">
                  <c:v>1.7780551395129527</c:v>
                </c:pt>
                <c:pt idx="14">
                  <c:v>1.7784358222173022</c:v>
                </c:pt>
                <c:pt idx="15">
                  <c:v>1.8027522935779816</c:v>
                </c:pt>
                <c:pt idx="16">
                  <c:v>1.776014496732744</c:v>
                </c:pt>
                <c:pt idx="17">
                  <c:v>1.7873328175085665</c:v>
                </c:pt>
                <c:pt idx="18">
                  <c:v>1.801031728422454</c:v>
                </c:pt>
                <c:pt idx="19">
                  <c:v>1.8171803716479358</c:v>
                </c:pt>
                <c:pt idx="20">
                  <c:v>1.8186987790600435</c:v>
                </c:pt>
                <c:pt idx="21">
                  <c:v>1.8107791773492363</c:v>
                </c:pt>
                <c:pt idx="22">
                  <c:v>1.817968094038623</c:v>
                </c:pt>
                <c:pt idx="23">
                  <c:v>1.8163938090182712</c:v>
                </c:pt>
                <c:pt idx="24">
                  <c:v>1.8191840617829762</c:v>
                </c:pt>
                <c:pt idx="25">
                  <c:v>1.8234569284194015</c:v>
                </c:pt>
                <c:pt idx="26">
                  <c:v>1.8264476708335668</c:v>
                </c:pt>
                <c:pt idx="27">
                  <c:v>1.8229213232007153</c:v>
                </c:pt>
                <c:pt idx="28">
                  <c:v>1.8185506279871066</c:v>
                </c:pt>
                <c:pt idx="29">
                  <c:v>1.811413978793094</c:v>
                </c:pt>
                <c:pt idx="30">
                  <c:v>1.803346816645426</c:v>
                </c:pt>
                <c:pt idx="31">
                  <c:v>1.790036961438738</c:v>
                </c:pt>
                <c:pt idx="32">
                  <c:v>1.7875562383408319</c:v>
                </c:pt>
                <c:pt idx="33">
                  <c:v>1.7954632833525568</c:v>
                </c:pt>
                <c:pt idx="34">
                  <c:v>1.8275500634412756</c:v>
                </c:pt>
                <c:pt idx="35">
                  <c:v>1.8416990560799555</c:v>
                </c:pt>
                <c:pt idx="36">
                  <c:v>1.8397614535726228</c:v>
                </c:pt>
                <c:pt idx="37">
                  <c:v>1.8329064587973274</c:v>
                </c:pt>
                <c:pt idx="38">
                  <c:v>1.8427530912991927</c:v>
                </c:pt>
                <c:pt idx="39">
                  <c:v>2.182912959122232</c:v>
                </c:pt>
                <c:pt idx="40">
                  <c:v>2.5171413300755896</c:v>
                </c:pt>
                <c:pt idx="41">
                  <c:v>2.543243665936816</c:v>
                </c:pt>
                <c:pt idx="42">
                  <c:v>2.581341984491217</c:v>
                </c:pt>
                <c:pt idx="43">
                  <c:v>2.60027067908606</c:v>
                </c:pt>
                <c:pt idx="44">
                  <c:v>2.6410483870967743</c:v>
                </c:pt>
                <c:pt idx="45">
                  <c:v>2.6322397731875253</c:v>
                </c:pt>
                <c:pt idx="46">
                  <c:v>2.8329283110571084</c:v>
                </c:pt>
                <c:pt idx="47">
                  <c:v>2.7534315789473682</c:v>
                </c:pt>
                <c:pt idx="48">
                  <c:v>2.7550177095631643</c:v>
                </c:pt>
                <c:pt idx="49">
                  <c:v>2.624837281957823</c:v>
                </c:pt>
                <c:pt idx="50">
                  <c:v>2.7121548432921956</c:v>
                </c:pt>
                <c:pt idx="51">
                  <c:v>3.2549895324494065</c:v>
                </c:pt>
                <c:pt idx="52">
                  <c:v>1.7307442946058094</c:v>
                </c:pt>
                <c:pt idx="53">
                  <c:v>1.428562874251497</c:v>
                </c:pt>
                <c:pt idx="54">
                  <c:v>1.4497295390404514</c:v>
                </c:pt>
                <c:pt idx="55">
                  <c:v>1.5068188469417618</c:v>
                </c:pt>
                <c:pt idx="56">
                  <c:v>1.5018349158268771</c:v>
                </c:pt>
                <c:pt idx="57">
                  <c:v>1.4843831187575776</c:v>
                </c:pt>
                <c:pt idx="58">
                  <c:v>1.493000748891065</c:v>
                </c:pt>
                <c:pt idx="59">
                  <c:v>1.5036273606632888</c:v>
                </c:pt>
                <c:pt idx="60">
                  <c:v>1.4917835671342685</c:v>
                </c:pt>
                <c:pt idx="61">
                  <c:v>1.4845125157160817</c:v>
                </c:pt>
                <c:pt idx="62">
                  <c:v>1.4868526351892077</c:v>
                </c:pt>
                <c:pt idx="63">
                  <c:v>1.5047689759552232</c:v>
                </c:pt>
                <c:pt idx="64">
                  <c:v>1.4945757679570628</c:v>
                </c:pt>
              </c:numCache>
            </c:numRef>
          </c:xVal>
          <c:yVal>
            <c:numRef>
              <c:f>Sheet1!$B$2:$B$66</c:f>
              <c:numCache>
                <c:formatCode>General</c:formatCode>
                <c:ptCount val="65"/>
                <c:pt idx="0">
                  <c:v>0.06372911933556125</c:v>
                </c:pt>
                <c:pt idx="1">
                  <c:v>0.06343980944844631</c:v>
                </c:pt>
                <c:pt idx="2">
                  <c:v>0.065780364941977</c:v>
                </c:pt>
                <c:pt idx="3">
                  <c:v>0.05779744845374692</c:v>
                </c:pt>
                <c:pt idx="4">
                  <c:v>0.0516169812788345</c:v>
                </c:pt>
                <c:pt idx="5">
                  <c:v>0.0504079315395996</c:v>
                </c:pt>
                <c:pt idx="6">
                  <c:v>0.04909781151023046</c:v>
                </c:pt>
                <c:pt idx="7">
                  <c:v>0.048275936311486474</c:v>
                </c:pt>
                <c:pt idx="8">
                  <c:v>0.04610697932517136</c:v>
                </c:pt>
                <c:pt idx="9">
                  <c:v>0.043897287573376624</c:v>
                </c:pt>
                <c:pt idx="10">
                  <c:v>0.046726841239423986</c:v>
                </c:pt>
                <c:pt idx="11">
                  <c:v>0.04560058634264168</c:v>
                </c:pt>
                <c:pt idx="12">
                  <c:v>0.04493449733432505</c:v>
                </c:pt>
                <c:pt idx="13">
                  <c:v>0.04533712363761668</c:v>
                </c:pt>
                <c:pt idx="14">
                  <c:v>0.04323361916227348</c:v>
                </c:pt>
                <c:pt idx="15">
                  <c:v>0.04643298980719729</c:v>
                </c:pt>
                <c:pt idx="16">
                  <c:v>0.0430612109619136</c:v>
                </c:pt>
                <c:pt idx="17">
                  <c:v>0.04137673488436439</c:v>
                </c:pt>
                <c:pt idx="18">
                  <c:v>0.04120348695668458</c:v>
                </c:pt>
                <c:pt idx="19">
                  <c:v>0.041350360244434586</c:v>
                </c:pt>
                <c:pt idx="20">
                  <c:v>0.04483845618510488</c:v>
                </c:pt>
                <c:pt idx="21">
                  <c:v>0.0437494031264522</c:v>
                </c:pt>
                <c:pt idx="22">
                  <c:v>0.04289898855969652</c:v>
                </c:pt>
                <c:pt idx="23">
                  <c:v>0.04193490297447681</c:v>
                </c:pt>
                <c:pt idx="24">
                  <c:v>0.04199544123878658</c:v>
                </c:pt>
                <c:pt idx="25">
                  <c:v>0.041817422357142434</c:v>
                </c:pt>
                <c:pt idx="26">
                  <c:v>0.04162045099527544</c:v>
                </c:pt>
                <c:pt idx="27">
                  <c:v>0.04233573944907656</c:v>
                </c:pt>
                <c:pt idx="28">
                  <c:v>0.046458216539776116</c:v>
                </c:pt>
                <c:pt idx="29">
                  <c:v>0.045111915109164805</c:v>
                </c:pt>
                <c:pt idx="30">
                  <c:v>0.043766262271955264</c:v>
                </c:pt>
                <c:pt idx="31">
                  <c:v>0.041666070991485095</c:v>
                </c:pt>
                <c:pt idx="32">
                  <c:v>0.04131019123282327</c:v>
                </c:pt>
                <c:pt idx="33">
                  <c:v>0.042184772661324525</c:v>
                </c:pt>
                <c:pt idx="34">
                  <c:v>0.043702227469219146</c:v>
                </c:pt>
                <c:pt idx="35">
                  <c:v>0.0433563213339815</c:v>
                </c:pt>
                <c:pt idx="36">
                  <c:v>0.042536168821490215</c:v>
                </c:pt>
                <c:pt idx="37">
                  <c:v>0.04122981048474047</c:v>
                </c:pt>
                <c:pt idx="38">
                  <c:v>0.04124672889747478</c:v>
                </c:pt>
                <c:pt idx="39">
                  <c:v>0.04023705014858693</c:v>
                </c:pt>
                <c:pt idx="40">
                  <c:v>0.04056736490925159</c:v>
                </c:pt>
                <c:pt idx="41">
                  <c:v>0.042141727957442254</c:v>
                </c:pt>
                <c:pt idx="42">
                  <c:v>0.042212569436336916</c:v>
                </c:pt>
                <c:pt idx="43">
                  <c:v>0.04200434962005295</c:v>
                </c:pt>
                <c:pt idx="44">
                  <c:v>0.04081009702074923</c:v>
                </c:pt>
                <c:pt idx="45">
                  <c:v>0.04251280939804182</c:v>
                </c:pt>
                <c:pt idx="46">
                  <c:v>0.04531993578162618</c:v>
                </c:pt>
                <c:pt idx="47">
                  <c:v>0.04384023118831942</c:v>
                </c:pt>
                <c:pt idx="48">
                  <c:v>0.045521582431293874</c:v>
                </c:pt>
                <c:pt idx="49">
                  <c:v>0.05185729822354794</c:v>
                </c:pt>
                <c:pt idx="50">
                  <c:v>0.053739278990809394</c:v>
                </c:pt>
                <c:pt idx="51">
                  <c:v>0.06184652634478485</c:v>
                </c:pt>
                <c:pt idx="52">
                  <c:v>0.036522257531495725</c:v>
                </c:pt>
                <c:pt idx="53">
                  <c:v>0.04488137603509533</c:v>
                </c:pt>
                <c:pt idx="54">
                  <c:v>0.04977307705913449</c:v>
                </c:pt>
                <c:pt idx="55">
                  <c:v>0.0500632799158535</c:v>
                </c:pt>
                <c:pt idx="56">
                  <c:v>0.05153569756218763</c:v>
                </c:pt>
                <c:pt idx="57">
                  <c:v>0.05284736298980431</c:v>
                </c:pt>
                <c:pt idx="58">
                  <c:v>0.05192960454073086</c:v>
                </c:pt>
                <c:pt idx="59">
                  <c:v>0.05687740889978977</c:v>
                </c:pt>
                <c:pt idx="60">
                  <c:v>0.052823274910599974</c:v>
                </c:pt>
                <c:pt idx="61">
                  <c:v>0.05166275092068322</c:v>
                </c:pt>
                <c:pt idx="62">
                  <c:v>0.05129719820444788</c:v>
                </c:pt>
                <c:pt idx="63">
                  <c:v>0.05286719927115591</c:v>
                </c:pt>
                <c:pt idx="64">
                  <c:v>0.0495600624494196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857501139990879</c:v>
                </c:pt>
                <c:pt idx="1">
                  <c:v>1.476657223796034</c:v>
                </c:pt>
                <c:pt idx="2">
                  <c:v>1.5043645845142273</c:v>
                </c:pt>
                <c:pt idx="3">
                  <c:v>1.4842158859470467</c:v>
                </c:pt>
                <c:pt idx="4">
                  <c:v>1.4870672502984479</c:v>
                </c:pt>
                <c:pt idx="5">
                  <c:v>1.4966492926284438</c:v>
                </c:pt>
                <c:pt idx="6">
                  <c:v>1.504524627720504</c:v>
                </c:pt>
                <c:pt idx="7">
                  <c:v>1.5170971991522997</c:v>
                </c:pt>
                <c:pt idx="8">
                  <c:v>1.5062478505101458</c:v>
                </c:pt>
                <c:pt idx="9">
                  <c:v>1.512925091911765</c:v>
                </c:pt>
                <c:pt idx="10">
                  <c:v>1.5134513681306048</c:v>
                </c:pt>
                <c:pt idx="11">
                  <c:v>1.519788615084152</c:v>
                </c:pt>
                <c:pt idx="12">
                  <c:v>1.5175841857257786</c:v>
                </c:pt>
                <c:pt idx="13">
                  <c:v>1.511080491445631</c:v>
                </c:pt>
                <c:pt idx="14">
                  <c:v>1.5125100424652818</c:v>
                </c:pt>
                <c:pt idx="15">
                  <c:v>1.512029859316681</c:v>
                </c:pt>
                <c:pt idx="16">
                  <c:v>1.5121460977430656</c:v>
                </c:pt>
                <c:pt idx="17">
                  <c:v>1.508909070008047</c:v>
                </c:pt>
                <c:pt idx="18">
                  <c:v>1.5099752774104525</c:v>
                </c:pt>
                <c:pt idx="19">
                  <c:v>1.5141870503597121</c:v>
                </c:pt>
                <c:pt idx="20">
                  <c:v>1.5121951219512195</c:v>
                </c:pt>
                <c:pt idx="21">
                  <c:v>1.5127850725639254</c:v>
                </c:pt>
                <c:pt idx="22">
                  <c:v>1.5109472228624106</c:v>
                </c:pt>
                <c:pt idx="23">
                  <c:v>1.5104064571922746</c:v>
                </c:pt>
                <c:pt idx="24">
                  <c:v>1.5135913384012902</c:v>
                </c:pt>
                <c:pt idx="25">
                  <c:v>1.5035130154342318</c:v>
                </c:pt>
                <c:pt idx="26">
                  <c:v>1.5594573503811755</c:v>
                </c:pt>
                <c:pt idx="27">
                  <c:v>1.7570545552270898</c:v>
                </c:pt>
                <c:pt idx="28">
                  <c:v>1.8682482524888795</c:v>
                </c:pt>
                <c:pt idx="29">
                  <c:v>1.9200547866205306</c:v>
                </c:pt>
                <c:pt idx="30">
                  <c:v>1.9576568670469503</c:v>
                </c:pt>
                <c:pt idx="31">
                  <c:v>1.996064161592158</c:v>
                </c:pt>
                <c:pt idx="32">
                  <c:v>2.019350859609899</c:v>
                </c:pt>
                <c:pt idx="33">
                  <c:v>2.015606526365571</c:v>
                </c:pt>
                <c:pt idx="34">
                  <c:v>2.229891855356539</c:v>
                </c:pt>
                <c:pt idx="35">
                  <c:v>2.1987489574645536</c:v>
                </c:pt>
                <c:pt idx="36">
                  <c:v>2.308791871178851</c:v>
                </c:pt>
                <c:pt idx="37">
                  <c:v>2.4282696708325995</c:v>
                </c:pt>
                <c:pt idx="38">
                  <c:v>3.0833552458585327</c:v>
                </c:pt>
                <c:pt idx="39">
                  <c:v>1.5453992703688693</c:v>
                </c:pt>
                <c:pt idx="40">
                  <c:v>1.4251331986037112</c:v>
                </c:pt>
                <c:pt idx="41">
                  <c:v>1.3961629279811099</c:v>
                </c:pt>
                <c:pt idx="42">
                  <c:v>1.374594719777675</c:v>
                </c:pt>
                <c:pt idx="43">
                  <c:v>1.363464512802887</c:v>
                </c:pt>
                <c:pt idx="44">
                  <c:v>1.3520300666249074</c:v>
                </c:pt>
                <c:pt idx="45">
                  <c:v>1.4065468113975577</c:v>
                </c:pt>
                <c:pt idx="46">
                  <c:v>1.47682532478584</c:v>
                </c:pt>
                <c:pt idx="47">
                  <c:v>1.4901226158038148</c:v>
                </c:pt>
                <c:pt idx="48">
                  <c:v>1.4769876851484023</c:v>
                </c:pt>
                <c:pt idx="49">
                  <c:v>1.5037917959324372</c:v>
                </c:pt>
                <c:pt idx="50">
                  <c:v>1.4895335608646187</c:v>
                </c:pt>
                <c:pt idx="51">
                  <c:v>1.4959881636601602</c:v>
                </c:pt>
              </c:numCache>
            </c:numRef>
          </c:xVal>
          <c:yVal>
            <c:numRef>
              <c:f>Sheet1!$B$69:$B$120</c:f>
              <c:numCache>
                <c:formatCode>General</c:formatCode>
                <c:ptCount val="52"/>
                <c:pt idx="0">
                  <c:v>0.049382292683763235</c:v>
                </c:pt>
                <c:pt idx="1">
                  <c:v>0.048156198010212814</c:v>
                </c:pt>
                <c:pt idx="2">
                  <c:v>0.049274178024541315</c:v>
                </c:pt>
                <c:pt idx="3">
                  <c:v>0.04694966398576598</c:v>
                </c:pt>
                <c:pt idx="4">
                  <c:v>0.0465763724946004</c:v>
                </c:pt>
                <c:pt idx="5">
                  <c:v>0.046319995875731323</c:v>
                </c:pt>
                <c:pt idx="6">
                  <c:v>0.045822882040803876</c:v>
                </c:pt>
                <c:pt idx="7">
                  <c:v>0.048235154183767705</c:v>
                </c:pt>
                <c:pt idx="8">
                  <c:v>0.046086032747393944</c:v>
                </c:pt>
                <c:pt idx="9">
                  <c:v>0.046095126762365365</c:v>
                </c:pt>
                <c:pt idx="10">
                  <c:v>0.04604479608327439</c:v>
                </c:pt>
                <c:pt idx="11">
                  <c:v>0.04577061950889221</c:v>
                </c:pt>
                <c:pt idx="12">
                  <c:v>0.046437062382874775</c:v>
                </c:pt>
                <c:pt idx="13">
                  <c:v>0.04636664726770021</c:v>
                </c:pt>
                <c:pt idx="14">
                  <c:v>0.04666121478369446</c:v>
                </c:pt>
                <c:pt idx="15">
                  <c:v>0.04860399448528056</c:v>
                </c:pt>
                <c:pt idx="16">
                  <c:v>0.04751616536570398</c:v>
                </c:pt>
                <c:pt idx="17">
                  <c:v>0.04671640238706461</c:v>
                </c:pt>
                <c:pt idx="18">
                  <c:v>0.04500165020522351</c:v>
                </c:pt>
                <c:pt idx="19">
                  <c:v>0.04385309699927765</c:v>
                </c:pt>
                <c:pt idx="20">
                  <c:v>0.04354350031865851</c:v>
                </c:pt>
                <c:pt idx="21">
                  <c:v>0.0439639287496443</c:v>
                </c:pt>
                <c:pt idx="22">
                  <c:v>0.04394807622760945</c:v>
                </c:pt>
                <c:pt idx="23">
                  <c:v>0.04409064565070642</c:v>
                </c:pt>
                <c:pt idx="24">
                  <c:v>0.04407361418649997</c:v>
                </c:pt>
                <c:pt idx="25">
                  <c:v>0.044302399351629385</c:v>
                </c:pt>
                <c:pt idx="26">
                  <c:v>0.04611345308237957</c:v>
                </c:pt>
                <c:pt idx="27">
                  <c:v>0.045994814734192334</c:v>
                </c:pt>
                <c:pt idx="28">
                  <c:v>0.04706393200627867</c:v>
                </c:pt>
                <c:pt idx="29">
                  <c:v>0.04656569021617601</c:v>
                </c:pt>
                <c:pt idx="30">
                  <c:v>0.045311481316650595</c:v>
                </c:pt>
                <c:pt idx="31">
                  <c:v>0.04707601333929247</c:v>
                </c:pt>
                <c:pt idx="32">
                  <c:v>0.04882191302830723</c:v>
                </c:pt>
                <c:pt idx="33">
                  <c:v>0.05051283213244513</c:v>
                </c:pt>
                <c:pt idx="34">
                  <c:v>0.054207586679346095</c:v>
                </c:pt>
                <c:pt idx="35">
                  <c:v>0.054699844670395945</c:v>
                </c:pt>
                <c:pt idx="36">
                  <c:v>0.056660069630572164</c:v>
                </c:pt>
                <c:pt idx="37">
                  <c:v>0.06100198424798542</c:v>
                </c:pt>
                <c:pt idx="38">
                  <c:v>0.08187423236531455</c:v>
                </c:pt>
                <c:pt idx="39">
                  <c:v>0.04812838110654355</c:v>
                </c:pt>
                <c:pt idx="40">
                  <c:v>0.047419399293250675</c:v>
                </c:pt>
                <c:pt idx="41">
                  <c:v>0.04566125303306289</c:v>
                </c:pt>
                <c:pt idx="42">
                  <c:v>0.04386528115349368</c:v>
                </c:pt>
                <c:pt idx="43">
                  <c:v>0.04524262449834949</c:v>
                </c:pt>
                <c:pt idx="44">
                  <c:v>0.04615438390514774</c:v>
                </c:pt>
                <c:pt idx="45">
                  <c:v>0.04353965184734838</c:v>
                </c:pt>
                <c:pt idx="46">
                  <c:v>0.04488605644043676</c:v>
                </c:pt>
                <c:pt idx="47">
                  <c:v>0.04465625760134467</c:v>
                </c:pt>
                <c:pt idx="48">
                  <c:v>0.047382693410484775</c:v>
                </c:pt>
                <c:pt idx="49">
                  <c:v>0.046756958017834534</c:v>
                </c:pt>
                <c:pt idx="50">
                  <c:v>0.048712802923834196</c:v>
                </c:pt>
                <c:pt idx="51">
                  <c:v>0.047651310627089175</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9666959339717118</c:v>
                </c:pt>
              </c:numCache>
            </c:numRef>
          </c:xVal>
          <c:yVal>
            <c:numRef>
              <c:f>Sheet1!$B$123:$B$124</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9666959339717118</c:v>
                </c:pt>
                <c:pt idx="1">
                  <c:v>1.9666959339717118</c:v>
                </c:pt>
              </c:numCache>
            </c:numRef>
          </c:xVal>
          <c:yVal>
            <c:numRef>
              <c:f>Sheet1!$B$127:$B$128</c:f>
              <c:numCache>
                <c:formatCode>General</c:formatCode>
                <c:ptCount val="2"/>
                <c:pt idx="0">
                  <c:v>0.0527618344191797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9666959339717118</c:v>
                </c:pt>
              </c:numCache>
            </c:numRef>
          </c:xVal>
          <c:yVal>
            <c:numRef>
              <c:f>Sheet1!$B$131:$B$132</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9666959339717118</c:v>
                </c:pt>
                <c:pt idx="1">
                  <c:v>1.9666959339717118</c:v>
                </c:pt>
              </c:numCache>
            </c:numRef>
          </c:xVal>
          <c:yVal>
            <c:numRef>
              <c:f>Sheet1!$B$135:$B$136</c:f>
              <c:numCache>
                <c:formatCode>General</c:formatCode>
                <c:ptCount val="2"/>
                <c:pt idx="0">
                  <c:v>0.0527618344191797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5324073449838655</c:v>
                </c:pt>
              </c:numCache>
            </c:numRef>
          </c:xVal>
          <c:yVal>
            <c:numRef>
              <c:f>Sheet1!$B$139:$B$140</c:f>
              <c:numCache>
                <c:formatCode>General</c:formatCode>
                <c:ptCount val="2"/>
                <c:pt idx="0">
                  <c:v>0.04615823491217081</c:v>
                </c:pt>
                <c:pt idx="1">
                  <c:v>0.04615823491217081</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5324073449838655</c:v>
                </c:pt>
                <c:pt idx="1">
                  <c:v>1.5324073449838655</c:v>
                </c:pt>
              </c:numCache>
            </c:numRef>
          </c:xVal>
          <c:yVal>
            <c:numRef>
              <c:f>Sheet1!$B$143:$B$144</c:f>
              <c:numCache>
                <c:formatCode>General</c:formatCode>
                <c:ptCount val="2"/>
                <c:pt idx="0">
                  <c:v>0.04615823491217081</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857501139990879</c:v>
                </c:pt>
                <c:pt idx="1">
                  <c:v>1.476657223796034</c:v>
                </c:pt>
                <c:pt idx="2">
                  <c:v>1.5043645845142273</c:v>
                </c:pt>
                <c:pt idx="3">
                  <c:v>1.4842158859470467</c:v>
                </c:pt>
                <c:pt idx="4">
                  <c:v>1.4870672502984479</c:v>
                </c:pt>
                <c:pt idx="5">
                  <c:v>1.4966492926284438</c:v>
                </c:pt>
                <c:pt idx="6">
                  <c:v>1.504524627720504</c:v>
                </c:pt>
                <c:pt idx="7">
                  <c:v>1.5170971991522997</c:v>
                </c:pt>
                <c:pt idx="8">
                  <c:v>1.5062478505101458</c:v>
                </c:pt>
                <c:pt idx="9">
                  <c:v>1.512925091911765</c:v>
                </c:pt>
                <c:pt idx="10">
                  <c:v>1.5134513681306048</c:v>
                </c:pt>
                <c:pt idx="11">
                  <c:v>1.519788615084152</c:v>
                </c:pt>
                <c:pt idx="12">
                  <c:v>1.5175841857257786</c:v>
                </c:pt>
                <c:pt idx="13">
                  <c:v>1.511080491445631</c:v>
                </c:pt>
                <c:pt idx="14">
                  <c:v>1.5125100424652818</c:v>
                </c:pt>
                <c:pt idx="15">
                  <c:v>1.512029859316681</c:v>
                </c:pt>
                <c:pt idx="16">
                  <c:v>1.5121460977430656</c:v>
                </c:pt>
                <c:pt idx="17">
                  <c:v>1.508909070008047</c:v>
                </c:pt>
                <c:pt idx="18">
                  <c:v>1.5099752774104525</c:v>
                </c:pt>
                <c:pt idx="19">
                  <c:v>1.5141870503597121</c:v>
                </c:pt>
                <c:pt idx="20">
                  <c:v>1.5121951219512195</c:v>
                </c:pt>
                <c:pt idx="21">
                  <c:v>1.5127850725639254</c:v>
                </c:pt>
                <c:pt idx="22">
                  <c:v>1.5109472228624106</c:v>
                </c:pt>
                <c:pt idx="23">
                  <c:v>1.5104064571922746</c:v>
                </c:pt>
                <c:pt idx="24">
                  <c:v>1.5135913384012902</c:v>
                </c:pt>
                <c:pt idx="25">
                  <c:v>1.5035130154342318</c:v>
                </c:pt>
                <c:pt idx="26">
                  <c:v>1.5594573503811755</c:v>
                </c:pt>
                <c:pt idx="27">
                  <c:v>1.7570545552270898</c:v>
                </c:pt>
                <c:pt idx="28">
                  <c:v>1.8682482524888795</c:v>
                </c:pt>
                <c:pt idx="29">
                  <c:v>1.9200547866205306</c:v>
                </c:pt>
                <c:pt idx="30">
                  <c:v>1.9576568670469503</c:v>
                </c:pt>
                <c:pt idx="31">
                  <c:v>1.996064161592158</c:v>
                </c:pt>
                <c:pt idx="32">
                  <c:v>2.019350859609899</c:v>
                </c:pt>
                <c:pt idx="33">
                  <c:v>2.015606526365571</c:v>
                </c:pt>
                <c:pt idx="34">
                  <c:v>2.229891855356539</c:v>
                </c:pt>
                <c:pt idx="35">
                  <c:v>2.1987489574645536</c:v>
                </c:pt>
                <c:pt idx="36">
                  <c:v>2.308791871178851</c:v>
                </c:pt>
                <c:pt idx="37">
                  <c:v>2.4282696708325995</c:v>
                </c:pt>
                <c:pt idx="38">
                  <c:v>3.0833552458585327</c:v>
                </c:pt>
                <c:pt idx="39">
                  <c:v>1.5453992703688693</c:v>
                </c:pt>
                <c:pt idx="40">
                  <c:v>1.4251331986037112</c:v>
                </c:pt>
                <c:pt idx="41">
                  <c:v>1.3961629279811099</c:v>
                </c:pt>
                <c:pt idx="42">
                  <c:v>1.374594719777675</c:v>
                </c:pt>
                <c:pt idx="43">
                  <c:v>1.363464512802887</c:v>
                </c:pt>
                <c:pt idx="44">
                  <c:v>1.3520300666249074</c:v>
                </c:pt>
                <c:pt idx="45">
                  <c:v>1.4065468113975577</c:v>
                </c:pt>
                <c:pt idx="46">
                  <c:v>1.47682532478584</c:v>
                </c:pt>
                <c:pt idx="47">
                  <c:v>1.4901226158038148</c:v>
                </c:pt>
                <c:pt idx="48">
                  <c:v>1.4769876851484023</c:v>
                </c:pt>
                <c:pt idx="49">
                  <c:v>1.5037917959324372</c:v>
                </c:pt>
                <c:pt idx="50">
                  <c:v>1.4895335608646187</c:v>
                </c:pt>
                <c:pt idx="51">
                  <c:v>1.4959881636601602</c:v>
                </c:pt>
                <c:pt idx="52">
                  <c:v>1.9666959339717118</c:v>
                </c:pt>
                <c:pt idx="53">
                  <c:v>1.9666959339717118</c:v>
                </c:pt>
                <c:pt idx="54">
                  <c:v>1.5324073449838655</c:v>
                </c:pt>
              </c:numCache>
            </c:numRef>
          </c:xVal>
          <c:yVal>
            <c:numRef>
              <c:f>Sheet1!$B$147:$B$201</c:f>
              <c:numCache>
                <c:formatCode>General</c:formatCode>
                <c:ptCount val="55"/>
                <c:pt idx="0">
                  <c:v>0.04544878576857818</c:v>
                </c:pt>
                <c:pt idx="1">
                  <c:v>0.045310523316409876</c:v>
                </c:pt>
                <c:pt idx="2">
                  <c:v>0.045731829144420706</c:v>
                </c:pt>
                <c:pt idx="3">
                  <c:v>0.04542545697785008</c:v>
                </c:pt>
                <c:pt idx="4">
                  <c:v>0.04546881355848026</c:v>
                </c:pt>
                <c:pt idx="5">
                  <c:v>0.04561451384076023</c:v>
                </c:pt>
                <c:pt idx="6">
                  <c:v>0.045734262690373485</c:v>
                </c:pt>
                <c:pt idx="7">
                  <c:v>0.0459254356307041</c:v>
                </c:pt>
                <c:pt idx="8">
                  <c:v>0.04576046525118832</c:v>
                </c:pt>
                <c:pt idx="9">
                  <c:v>0.04586199641996869</c:v>
                </c:pt>
                <c:pt idx="10">
                  <c:v>0.045869998742542675</c:v>
                </c:pt>
                <c:pt idx="11">
                  <c:v>0.0459663601066664</c:v>
                </c:pt>
                <c:pt idx="12">
                  <c:v>0.04593284053237107</c:v>
                </c:pt>
                <c:pt idx="13">
                  <c:v>0.04583394824408367</c:v>
                </c:pt>
                <c:pt idx="14">
                  <c:v>0.04585568536232251</c:v>
                </c:pt>
                <c:pt idx="15">
                  <c:v>0.04584838391051424</c:v>
                </c:pt>
                <c:pt idx="16">
                  <c:v>0.04585015138042857</c:v>
                </c:pt>
                <c:pt idx="17">
                  <c:v>0.045800930573579916</c:v>
                </c:pt>
                <c:pt idx="18">
                  <c:v>0.04581714285006018</c:v>
                </c:pt>
                <c:pt idx="19">
                  <c:v>0.045881185199955175</c:v>
                </c:pt>
                <c:pt idx="20">
                  <c:v>0.04585089682077631</c:v>
                </c:pt>
                <c:pt idx="21">
                  <c:v>0.04585986734791888</c:v>
                </c:pt>
                <c:pt idx="22">
                  <c:v>0.045831921821164044</c:v>
                </c:pt>
                <c:pt idx="23">
                  <c:v>0.045823699178425395</c:v>
                </c:pt>
                <c:pt idx="24">
                  <c:v>0.04587212706834706</c:v>
                </c:pt>
                <c:pt idx="25">
                  <c:v>0.04571888056299482</c:v>
                </c:pt>
                <c:pt idx="26">
                  <c:v>0.04656954528696692</c:v>
                </c:pt>
                <c:pt idx="27">
                  <c:v>0.04957412067207641</c:v>
                </c:pt>
                <c:pt idx="28">
                  <c:v>0.051264882674669575</c:v>
                </c:pt>
                <c:pt idx="29">
                  <c:v>0.052052629836180156</c:v>
                </c:pt>
                <c:pt idx="30">
                  <c:v>0.052624390379889405</c:v>
                </c:pt>
                <c:pt idx="31">
                  <c:v>0.05320839465206101</c:v>
                </c:pt>
                <c:pt idx="32">
                  <c:v>0.05356248184534465</c:v>
                </c:pt>
                <c:pt idx="33">
                  <c:v>0.053505547176110196</c:v>
                </c:pt>
                <c:pt idx="34">
                  <c:v>0.05676387476924803</c:v>
                </c:pt>
                <c:pt idx="35">
                  <c:v>0.05629032968797927</c:v>
                </c:pt>
                <c:pt idx="36">
                  <c:v>0.057963593386772636</c:v>
                </c:pt>
                <c:pt idx="37">
                  <c:v>0.059780319773092866</c:v>
                </c:pt>
                <c:pt idx="38">
                  <c:v>0.06974126023982698</c:v>
                </c:pt>
                <c:pt idx="39">
                  <c:v>0.04635578436256613</c:v>
                </c:pt>
                <c:pt idx="40">
                  <c:v>0.04452707186042733</c:v>
                </c:pt>
                <c:pt idx="41">
                  <c:v>0.044086562785005404</c:v>
                </c:pt>
                <c:pt idx="42">
                  <c:v>0.04375860618501458</c:v>
                </c:pt>
                <c:pt idx="43">
                  <c:v>0.04358936519836348</c:v>
                </c:pt>
                <c:pt idx="44">
                  <c:v>0.04341549808543794</c:v>
                </c:pt>
                <c:pt idx="45">
                  <c:v>0.04424445550691529</c:v>
                </c:pt>
                <c:pt idx="46">
                  <c:v>0.04531307938544222</c:v>
                </c:pt>
                <c:pt idx="47">
                  <c:v>0.0455152720901032</c:v>
                </c:pt>
                <c:pt idx="48">
                  <c:v>0.045315548165044905</c:v>
                </c:pt>
                <c:pt idx="49">
                  <c:v>0.04572311957550215</c:v>
                </c:pt>
                <c:pt idx="50">
                  <c:v>0.045506315182174434</c:v>
                </c:pt>
                <c:pt idx="51">
                  <c:v>0.04560446100713823</c:v>
                </c:pt>
                <c:pt idx="52">
                  <c:v>0.052761834419179705</c:v>
                </c:pt>
                <c:pt idx="53">
                  <c:v>0.052761834419179705</c:v>
                </c:pt>
                <c:pt idx="54">
                  <c:v>0.0461582349121708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824907883837745"/>
          <c:min val="0.02921780602519658"/>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6177</c:v>
                </c:pt>
                <c:pt idx="1">
                  <c:v>2.5774</c:v>
                </c:pt>
                <c:pt idx="2">
                  <c:v>2.4341</c:v>
                </c:pt>
                <c:pt idx="3">
                  <c:v>2.589</c:v>
                </c:pt>
                <c:pt idx="4">
                  <c:v>2.7393</c:v>
                </c:pt>
                <c:pt idx="5">
                  <c:v>2.8047</c:v>
                </c:pt>
                <c:pt idx="6">
                  <c:v>2.9229</c:v>
                </c:pt>
                <c:pt idx="7">
                  <c:v>3.1019</c:v>
                </c:pt>
                <c:pt idx="8">
                  <c:v>3.1138</c:v>
                </c:pt>
                <c:pt idx="9">
                  <c:v>3.1369</c:v>
                </c:pt>
                <c:pt idx="10">
                  <c:v>3.1929</c:v>
                </c:pt>
                <c:pt idx="11">
                  <c:v>3.1637</c:v>
                </c:pt>
                <c:pt idx="12">
                  <c:v>3.1771</c:v>
                </c:pt>
                <c:pt idx="13">
                  <c:v>3.2053</c:v>
                </c:pt>
                <c:pt idx="14">
                  <c:v>3.2131</c:v>
                </c:pt>
                <c:pt idx="15">
                  <c:v>3.2619</c:v>
                </c:pt>
                <c:pt idx="16">
                  <c:v>3.2343</c:v>
                </c:pt>
                <c:pt idx="17">
                  <c:v>3.234</c:v>
                </c:pt>
                <c:pt idx="18">
                  <c:v>3.2469</c:v>
                </c:pt>
                <c:pt idx="19">
                  <c:v>3.2662</c:v>
                </c:pt>
                <c:pt idx="20">
                  <c:v>3.2622</c:v>
                </c:pt>
                <c:pt idx="21">
                  <c:v>3.2489</c:v>
                </c:pt>
                <c:pt idx="22">
                  <c:v>3.2478</c:v>
                </c:pt>
                <c:pt idx="23">
                  <c:v>3.2508</c:v>
                </c:pt>
                <c:pt idx="24">
                  <c:v>3.2507</c:v>
                </c:pt>
                <c:pt idx="25">
                  <c:v>3.2556</c:v>
                </c:pt>
                <c:pt idx="26">
                  <c:v>3.2582</c:v>
                </c:pt>
                <c:pt idx="27">
                  <c:v>3.2623</c:v>
                </c:pt>
                <c:pt idx="28">
                  <c:v>3.2723</c:v>
                </c:pt>
                <c:pt idx="29">
                  <c:v>3.2629</c:v>
                </c:pt>
                <c:pt idx="30">
                  <c:v>3.2545</c:v>
                </c:pt>
                <c:pt idx="31">
                  <c:v>3.2448</c:v>
                </c:pt>
                <c:pt idx="32">
                  <c:v>3.258</c:v>
                </c:pt>
                <c:pt idx="33">
                  <c:v>3.269</c:v>
                </c:pt>
                <c:pt idx="34">
                  <c:v>3.3128</c:v>
                </c:pt>
                <c:pt idx="35">
                  <c:v>3.3169</c:v>
                </c:pt>
                <c:pt idx="36">
                  <c:v>3.3009</c:v>
                </c:pt>
                <c:pt idx="37">
                  <c:v>3.2919</c:v>
                </c:pt>
                <c:pt idx="38">
                  <c:v>3.2637</c:v>
                </c:pt>
                <c:pt idx="39">
                  <c:v>3.2628</c:v>
                </c:pt>
                <c:pt idx="40">
                  <c:v>3.2967</c:v>
                </c:pt>
                <c:pt idx="41">
                  <c:v>3.2523</c:v>
                </c:pt>
                <c:pt idx="42">
                  <c:v>3.2623</c:v>
                </c:pt>
                <c:pt idx="43">
                  <c:v>3.2662</c:v>
                </c:pt>
                <c:pt idx="44">
                  <c:v>3.2749</c:v>
                </c:pt>
                <c:pt idx="45">
                  <c:v>3.2495</c:v>
                </c:pt>
                <c:pt idx="46">
                  <c:v>3.2641</c:v>
                </c:pt>
                <c:pt idx="47">
                  <c:v>3.2697</c:v>
                </c:pt>
                <c:pt idx="48">
                  <c:v>3.2669</c:v>
                </c:pt>
                <c:pt idx="49">
                  <c:v>3.0246</c:v>
                </c:pt>
                <c:pt idx="50">
                  <c:v>3.0547</c:v>
                </c:pt>
                <c:pt idx="51">
                  <c:v>2.3322</c:v>
                </c:pt>
                <c:pt idx="52">
                  <c:v>2.6695</c:v>
                </c:pt>
                <c:pt idx="53">
                  <c:v>2.3857</c:v>
                </c:pt>
                <c:pt idx="54">
                  <c:v>2.4657</c:v>
                </c:pt>
                <c:pt idx="55">
                  <c:v>2.5744</c:v>
                </c:pt>
                <c:pt idx="56">
                  <c:v>2.5782</c:v>
                </c:pt>
                <c:pt idx="57">
                  <c:v>2.5711</c:v>
                </c:pt>
                <c:pt idx="58">
                  <c:v>2.5917</c:v>
                </c:pt>
                <c:pt idx="59">
                  <c:v>2.6115</c:v>
                </c:pt>
                <c:pt idx="60">
                  <c:v>2.6054</c:v>
                </c:pt>
                <c:pt idx="61">
                  <c:v>2.5976</c:v>
                </c:pt>
                <c:pt idx="62">
                  <c:v>2.6011</c:v>
                </c:pt>
                <c:pt idx="63">
                  <c:v>2.6347</c:v>
                </c:pt>
                <c:pt idx="64">
                  <c:v>2.6176</c:v>
                </c:pt>
              </c:numCache>
            </c:numRef>
          </c:xVal>
          <c:yVal>
            <c:numRef>
              <c:f>Sheet1!$B$2:$B$66</c:f>
              <c:numCache>
                <c:formatCode>General</c:formatCode>
                <c:ptCount val="65"/>
                <c:pt idx="0">
                  <c:v>0.06372911933556125</c:v>
                </c:pt>
                <c:pt idx="1">
                  <c:v>0.06343980944844631</c:v>
                </c:pt>
                <c:pt idx="2">
                  <c:v>0.065780364941977</c:v>
                </c:pt>
                <c:pt idx="3">
                  <c:v>0.05779744845374692</c:v>
                </c:pt>
                <c:pt idx="4">
                  <c:v>0.0516169812788345</c:v>
                </c:pt>
                <c:pt idx="5">
                  <c:v>0.0504079315395996</c:v>
                </c:pt>
                <c:pt idx="6">
                  <c:v>0.04909781151023046</c:v>
                </c:pt>
                <c:pt idx="7">
                  <c:v>0.048275936311486474</c:v>
                </c:pt>
                <c:pt idx="8">
                  <c:v>0.04610697932517136</c:v>
                </c:pt>
                <c:pt idx="9">
                  <c:v>0.043897287573376624</c:v>
                </c:pt>
                <c:pt idx="10">
                  <c:v>0.046726841239423986</c:v>
                </c:pt>
                <c:pt idx="11">
                  <c:v>0.04560058634264168</c:v>
                </c:pt>
                <c:pt idx="12">
                  <c:v>0.04493449733432505</c:v>
                </c:pt>
                <c:pt idx="13">
                  <c:v>0.04533712363761668</c:v>
                </c:pt>
                <c:pt idx="14">
                  <c:v>0.04323361916227348</c:v>
                </c:pt>
                <c:pt idx="15">
                  <c:v>0.04643298980719729</c:v>
                </c:pt>
                <c:pt idx="16">
                  <c:v>0.0430612109619136</c:v>
                </c:pt>
                <c:pt idx="17">
                  <c:v>0.04137673488436439</c:v>
                </c:pt>
                <c:pt idx="18">
                  <c:v>0.04120348695668458</c:v>
                </c:pt>
                <c:pt idx="19">
                  <c:v>0.041350360244434586</c:v>
                </c:pt>
                <c:pt idx="20">
                  <c:v>0.04483845618510488</c:v>
                </c:pt>
                <c:pt idx="21">
                  <c:v>0.0437494031264522</c:v>
                </c:pt>
                <c:pt idx="22">
                  <c:v>0.04289898855969652</c:v>
                </c:pt>
                <c:pt idx="23">
                  <c:v>0.04193490297447681</c:v>
                </c:pt>
                <c:pt idx="24">
                  <c:v>0.04199544123878658</c:v>
                </c:pt>
                <c:pt idx="25">
                  <c:v>0.041817422357142434</c:v>
                </c:pt>
                <c:pt idx="26">
                  <c:v>0.04162045099527544</c:v>
                </c:pt>
                <c:pt idx="27">
                  <c:v>0.04233573944907656</c:v>
                </c:pt>
                <c:pt idx="28">
                  <c:v>0.046458216539776116</c:v>
                </c:pt>
                <c:pt idx="29">
                  <c:v>0.045111915109164805</c:v>
                </c:pt>
                <c:pt idx="30">
                  <c:v>0.043766262271955264</c:v>
                </c:pt>
                <c:pt idx="31">
                  <c:v>0.041666070991485095</c:v>
                </c:pt>
                <c:pt idx="32">
                  <c:v>0.04131019123282327</c:v>
                </c:pt>
                <c:pt idx="33">
                  <c:v>0.042184772661324525</c:v>
                </c:pt>
                <c:pt idx="34">
                  <c:v>0.043702227469219146</c:v>
                </c:pt>
                <c:pt idx="35">
                  <c:v>0.0433563213339815</c:v>
                </c:pt>
                <c:pt idx="36">
                  <c:v>0.042536168821490215</c:v>
                </c:pt>
                <c:pt idx="37">
                  <c:v>0.04122981048474047</c:v>
                </c:pt>
                <c:pt idx="38">
                  <c:v>0.04124672889747478</c:v>
                </c:pt>
                <c:pt idx="39">
                  <c:v>0.04023705014858693</c:v>
                </c:pt>
                <c:pt idx="40">
                  <c:v>0.04056736490925159</c:v>
                </c:pt>
                <c:pt idx="41">
                  <c:v>0.042141727957442254</c:v>
                </c:pt>
                <c:pt idx="42">
                  <c:v>0.042212569436336916</c:v>
                </c:pt>
                <c:pt idx="43">
                  <c:v>0.04200434962005295</c:v>
                </c:pt>
                <c:pt idx="44">
                  <c:v>0.04081009702074923</c:v>
                </c:pt>
                <c:pt idx="45">
                  <c:v>0.04251280939804182</c:v>
                </c:pt>
                <c:pt idx="46">
                  <c:v>0.04531993578162618</c:v>
                </c:pt>
                <c:pt idx="47">
                  <c:v>0.04384023118831942</c:v>
                </c:pt>
                <c:pt idx="48">
                  <c:v>0.045521582431293874</c:v>
                </c:pt>
                <c:pt idx="49">
                  <c:v>0.05185729822354794</c:v>
                </c:pt>
                <c:pt idx="50">
                  <c:v>0.053739278990809394</c:v>
                </c:pt>
                <c:pt idx="51">
                  <c:v>0.06184652634478485</c:v>
                </c:pt>
                <c:pt idx="52">
                  <c:v>0.036522257531495725</c:v>
                </c:pt>
                <c:pt idx="53">
                  <c:v>0.04488137603509533</c:v>
                </c:pt>
                <c:pt idx="54">
                  <c:v>0.04977307705913449</c:v>
                </c:pt>
                <c:pt idx="55">
                  <c:v>0.0500632799158535</c:v>
                </c:pt>
                <c:pt idx="56">
                  <c:v>0.05153569756218763</c:v>
                </c:pt>
                <c:pt idx="57">
                  <c:v>0.05284736298980431</c:v>
                </c:pt>
                <c:pt idx="58">
                  <c:v>0.05192960454073086</c:v>
                </c:pt>
                <c:pt idx="59">
                  <c:v>0.05687740889978977</c:v>
                </c:pt>
                <c:pt idx="60">
                  <c:v>0.052823274910599974</c:v>
                </c:pt>
                <c:pt idx="61">
                  <c:v>0.05166275092068322</c:v>
                </c:pt>
                <c:pt idx="62">
                  <c:v>0.05129719820444788</c:v>
                </c:pt>
                <c:pt idx="63">
                  <c:v>0.05286719927115591</c:v>
                </c:pt>
                <c:pt idx="64">
                  <c:v>0.0495600624494196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2.6066</c:v>
                </c:pt>
                <c:pt idx="1">
                  <c:v>2.6063</c:v>
                </c:pt>
                <c:pt idx="2">
                  <c:v>2.654</c:v>
                </c:pt>
                <c:pt idx="3">
                  <c:v>2.6235</c:v>
                </c:pt>
                <c:pt idx="4">
                  <c:v>2.6159</c:v>
                </c:pt>
                <c:pt idx="5">
                  <c:v>2.613</c:v>
                </c:pt>
                <c:pt idx="6">
                  <c:v>2.6269</c:v>
                </c:pt>
                <c:pt idx="7">
                  <c:v>2.6487</c:v>
                </c:pt>
                <c:pt idx="8">
                  <c:v>2.6278</c:v>
                </c:pt>
                <c:pt idx="9">
                  <c:v>2.6337</c:v>
                </c:pt>
                <c:pt idx="10">
                  <c:v>2.6328</c:v>
                </c:pt>
                <c:pt idx="11">
                  <c:v>2.6458</c:v>
                </c:pt>
                <c:pt idx="12">
                  <c:v>2.6409</c:v>
                </c:pt>
                <c:pt idx="13">
                  <c:v>2.632</c:v>
                </c:pt>
                <c:pt idx="14">
                  <c:v>2.6357</c:v>
                </c:pt>
                <c:pt idx="15">
                  <c:v>2.6332</c:v>
                </c:pt>
                <c:pt idx="16">
                  <c:v>2.6331</c:v>
                </c:pt>
                <c:pt idx="17">
                  <c:v>2.6252</c:v>
                </c:pt>
                <c:pt idx="18">
                  <c:v>2.6263</c:v>
                </c:pt>
                <c:pt idx="19">
                  <c:v>2.6309</c:v>
                </c:pt>
                <c:pt idx="20">
                  <c:v>2.6288</c:v>
                </c:pt>
                <c:pt idx="21">
                  <c:v>2.6268</c:v>
                </c:pt>
                <c:pt idx="22">
                  <c:v>2.6224</c:v>
                </c:pt>
                <c:pt idx="23">
                  <c:v>2.6198</c:v>
                </c:pt>
                <c:pt idx="24">
                  <c:v>2.6282</c:v>
                </c:pt>
                <c:pt idx="25">
                  <c:v>2.6107</c:v>
                </c:pt>
                <c:pt idx="26">
                  <c:v>2.5979</c:v>
                </c:pt>
                <c:pt idx="27">
                  <c:v>2.6152</c:v>
                </c:pt>
                <c:pt idx="28">
                  <c:v>2.646</c:v>
                </c:pt>
                <c:pt idx="29">
                  <c:v>2.6635</c:v>
                </c:pt>
                <c:pt idx="30">
                  <c:v>2.6769</c:v>
                </c:pt>
                <c:pt idx="31">
                  <c:v>2.6879</c:v>
                </c:pt>
                <c:pt idx="32">
                  <c:v>2.6193</c:v>
                </c:pt>
                <c:pt idx="33">
                  <c:v>2.5572</c:v>
                </c:pt>
                <c:pt idx="34">
                  <c:v>2.6393</c:v>
                </c:pt>
                <c:pt idx="35">
                  <c:v>2.6363</c:v>
                </c:pt>
                <c:pt idx="36">
                  <c:v>2.6812</c:v>
                </c:pt>
                <c:pt idx="37">
                  <c:v>2.759</c:v>
                </c:pt>
                <c:pt idx="38">
                  <c:v>2.3452</c:v>
                </c:pt>
                <c:pt idx="39">
                  <c:v>2.2875</c:v>
                </c:pt>
                <c:pt idx="40">
                  <c:v>2.3271</c:v>
                </c:pt>
                <c:pt idx="41">
                  <c:v>2.3651</c:v>
                </c:pt>
                <c:pt idx="42">
                  <c:v>2.3742</c:v>
                </c:pt>
                <c:pt idx="43">
                  <c:v>2.3802</c:v>
                </c:pt>
                <c:pt idx="44">
                  <c:v>2.3743</c:v>
                </c:pt>
                <c:pt idx="45">
                  <c:v>2.4879</c:v>
                </c:pt>
                <c:pt idx="46">
                  <c:v>2.6032</c:v>
                </c:pt>
                <c:pt idx="47">
                  <c:v>2.625</c:v>
                </c:pt>
                <c:pt idx="48">
                  <c:v>2.6026</c:v>
                </c:pt>
                <c:pt idx="49">
                  <c:v>2.6175</c:v>
                </c:pt>
                <c:pt idx="50">
                  <c:v>2.6186</c:v>
                </c:pt>
                <c:pt idx="51">
                  <c:v>2.6289</c:v>
                </c:pt>
              </c:numCache>
            </c:numRef>
          </c:xVal>
          <c:yVal>
            <c:numRef>
              <c:f>Sheet1!$B$69:$B$120</c:f>
              <c:numCache>
                <c:formatCode>General</c:formatCode>
                <c:ptCount val="52"/>
                <c:pt idx="0">
                  <c:v>0.049382292683763235</c:v>
                </c:pt>
                <c:pt idx="1">
                  <c:v>0.048156198010212814</c:v>
                </c:pt>
                <c:pt idx="2">
                  <c:v>0.049274178024541315</c:v>
                </c:pt>
                <c:pt idx="3">
                  <c:v>0.04694966398576598</c:v>
                </c:pt>
                <c:pt idx="4">
                  <c:v>0.0465763724946004</c:v>
                </c:pt>
                <c:pt idx="5">
                  <c:v>0.046319995875731323</c:v>
                </c:pt>
                <c:pt idx="6">
                  <c:v>0.045822882040803876</c:v>
                </c:pt>
                <c:pt idx="7">
                  <c:v>0.048235154183767705</c:v>
                </c:pt>
                <c:pt idx="8">
                  <c:v>0.046086032747393944</c:v>
                </c:pt>
                <c:pt idx="9">
                  <c:v>0.046095126762365365</c:v>
                </c:pt>
                <c:pt idx="10">
                  <c:v>0.04604479608327439</c:v>
                </c:pt>
                <c:pt idx="11">
                  <c:v>0.04577061950889221</c:v>
                </c:pt>
                <c:pt idx="12">
                  <c:v>0.046437062382874775</c:v>
                </c:pt>
                <c:pt idx="13">
                  <c:v>0.04636664726770021</c:v>
                </c:pt>
                <c:pt idx="14">
                  <c:v>0.04666121478369446</c:v>
                </c:pt>
                <c:pt idx="15">
                  <c:v>0.04860399448528056</c:v>
                </c:pt>
                <c:pt idx="16">
                  <c:v>0.04751616536570398</c:v>
                </c:pt>
                <c:pt idx="17">
                  <c:v>0.04671640238706461</c:v>
                </c:pt>
                <c:pt idx="18">
                  <c:v>0.04500165020522351</c:v>
                </c:pt>
                <c:pt idx="19">
                  <c:v>0.04385309699927765</c:v>
                </c:pt>
                <c:pt idx="20">
                  <c:v>0.04354350031865851</c:v>
                </c:pt>
                <c:pt idx="21">
                  <c:v>0.0439639287496443</c:v>
                </c:pt>
                <c:pt idx="22">
                  <c:v>0.04394807622760945</c:v>
                </c:pt>
                <c:pt idx="23">
                  <c:v>0.04409064565070642</c:v>
                </c:pt>
                <c:pt idx="24">
                  <c:v>0.04407361418649997</c:v>
                </c:pt>
                <c:pt idx="25">
                  <c:v>0.044302399351629385</c:v>
                </c:pt>
                <c:pt idx="26">
                  <c:v>0.04611345308237957</c:v>
                </c:pt>
                <c:pt idx="27">
                  <c:v>0.045994814734192334</c:v>
                </c:pt>
                <c:pt idx="28">
                  <c:v>0.04706393200627867</c:v>
                </c:pt>
                <c:pt idx="29">
                  <c:v>0.04656569021617601</c:v>
                </c:pt>
                <c:pt idx="30">
                  <c:v>0.045311481316650595</c:v>
                </c:pt>
                <c:pt idx="31">
                  <c:v>0.04707601333929247</c:v>
                </c:pt>
                <c:pt idx="32">
                  <c:v>0.04882191302830723</c:v>
                </c:pt>
                <c:pt idx="33">
                  <c:v>0.05051283213244513</c:v>
                </c:pt>
                <c:pt idx="34">
                  <c:v>0.054207586679346095</c:v>
                </c:pt>
                <c:pt idx="35">
                  <c:v>0.054699844670395945</c:v>
                </c:pt>
                <c:pt idx="36">
                  <c:v>0.056660069630572164</c:v>
                </c:pt>
                <c:pt idx="37">
                  <c:v>0.06100198424798542</c:v>
                </c:pt>
                <c:pt idx="38">
                  <c:v>0.08187423236531455</c:v>
                </c:pt>
                <c:pt idx="39">
                  <c:v>0.04812838110654355</c:v>
                </c:pt>
                <c:pt idx="40">
                  <c:v>0.047419399293250675</c:v>
                </c:pt>
                <c:pt idx="41">
                  <c:v>0.04566125303306289</c:v>
                </c:pt>
                <c:pt idx="42">
                  <c:v>0.04386528115349368</c:v>
                </c:pt>
                <c:pt idx="43">
                  <c:v>0.04524262449834949</c:v>
                </c:pt>
                <c:pt idx="44">
                  <c:v>0.04615438390514774</c:v>
                </c:pt>
                <c:pt idx="45">
                  <c:v>0.04353965184734838</c:v>
                </c:pt>
                <c:pt idx="46">
                  <c:v>0.04488605644043676</c:v>
                </c:pt>
                <c:pt idx="47">
                  <c:v>0.04465625760134467</c:v>
                </c:pt>
                <c:pt idx="48">
                  <c:v>0.047382693410484775</c:v>
                </c:pt>
                <c:pt idx="49">
                  <c:v>0.046756958017834534</c:v>
                </c:pt>
                <c:pt idx="50">
                  <c:v>0.048712802923834196</c:v>
                </c:pt>
                <c:pt idx="51">
                  <c:v>0.047651310627089175</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970730661855425</c:v>
                </c:pt>
              </c:numCache>
            </c:numRef>
          </c:xVal>
          <c:yVal>
            <c:numRef>
              <c:f>Sheet1!$B$123:$B$124</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970730661855425</c:v>
                </c:pt>
                <c:pt idx="1">
                  <c:v>1.970730661855425</c:v>
                </c:pt>
              </c:numCache>
            </c:numRef>
          </c:xVal>
          <c:yVal>
            <c:numRef>
              <c:f>Sheet1!$B$127:$B$128</c:f>
              <c:numCache>
                <c:formatCode>General</c:formatCode>
                <c:ptCount val="2"/>
                <c:pt idx="0">
                  <c:v>0.0527618344191797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970730661855425</c:v>
                </c:pt>
              </c:numCache>
            </c:numRef>
          </c:xVal>
          <c:yVal>
            <c:numRef>
              <c:f>Sheet1!$B$131:$B$132</c:f>
              <c:numCache>
                <c:formatCode>General</c:formatCode>
                <c:ptCount val="2"/>
                <c:pt idx="0">
                  <c:v>0.052761834419179705</c:v>
                </c:pt>
                <c:pt idx="1">
                  <c:v>0.05276183441917970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970730661855425</c:v>
                </c:pt>
                <c:pt idx="1">
                  <c:v>1.970730661855425</c:v>
                </c:pt>
              </c:numCache>
            </c:numRef>
          </c:xVal>
          <c:yVal>
            <c:numRef>
              <c:f>Sheet1!$B$135:$B$136</c:f>
              <c:numCache>
                <c:formatCode>General</c:formatCode>
                <c:ptCount val="2"/>
                <c:pt idx="0">
                  <c:v>0.0527618344191797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7970809697272476</c:v>
                </c:pt>
              </c:numCache>
            </c:numRef>
          </c:xVal>
          <c:yVal>
            <c:numRef>
              <c:f>Sheet1!$B$139:$B$140</c:f>
              <c:numCache>
                <c:formatCode>General</c:formatCode>
                <c:ptCount val="2"/>
                <c:pt idx="0">
                  <c:v>0.04615823491217081</c:v>
                </c:pt>
                <c:pt idx="1">
                  <c:v>0.04615823491217081</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7970809697272476</c:v>
                </c:pt>
                <c:pt idx="1">
                  <c:v>2.7970809697272476</c:v>
                </c:pt>
              </c:numCache>
            </c:numRef>
          </c:xVal>
          <c:yVal>
            <c:numRef>
              <c:f>Sheet1!$B$143:$B$144</c:f>
              <c:numCache>
                <c:formatCode>General</c:formatCode>
                <c:ptCount val="2"/>
                <c:pt idx="0">
                  <c:v>0.04615823491217081</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2.6066</c:v>
                </c:pt>
                <c:pt idx="1">
                  <c:v>2.6063</c:v>
                </c:pt>
                <c:pt idx="2">
                  <c:v>2.654</c:v>
                </c:pt>
                <c:pt idx="3">
                  <c:v>2.6235</c:v>
                </c:pt>
                <c:pt idx="4">
                  <c:v>2.6159</c:v>
                </c:pt>
                <c:pt idx="5">
                  <c:v>2.613</c:v>
                </c:pt>
                <c:pt idx="6">
                  <c:v>2.6269</c:v>
                </c:pt>
                <c:pt idx="7">
                  <c:v>2.6487</c:v>
                </c:pt>
                <c:pt idx="8">
                  <c:v>2.6278</c:v>
                </c:pt>
                <c:pt idx="9">
                  <c:v>2.6337</c:v>
                </c:pt>
                <c:pt idx="10">
                  <c:v>2.6328</c:v>
                </c:pt>
                <c:pt idx="11">
                  <c:v>2.6458</c:v>
                </c:pt>
                <c:pt idx="12">
                  <c:v>2.6409</c:v>
                </c:pt>
                <c:pt idx="13">
                  <c:v>2.632</c:v>
                </c:pt>
                <c:pt idx="14">
                  <c:v>2.6357</c:v>
                </c:pt>
                <c:pt idx="15">
                  <c:v>2.6332</c:v>
                </c:pt>
                <c:pt idx="16">
                  <c:v>2.6331</c:v>
                </c:pt>
                <c:pt idx="17">
                  <c:v>2.6252</c:v>
                </c:pt>
                <c:pt idx="18">
                  <c:v>2.6263</c:v>
                </c:pt>
                <c:pt idx="19">
                  <c:v>2.6309</c:v>
                </c:pt>
                <c:pt idx="20">
                  <c:v>2.6288</c:v>
                </c:pt>
                <c:pt idx="21">
                  <c:v>2.6268</c:v>
                </c:pt>
                <c:pt idx="22">
                  <c:v>2.6224</c:v>
                </c:pt>
                <c:pt idx="23">
                  <c:v>2.6198</c:v>
                </c:pt>
                <c:pt idx="24">
                  <c:v>2.6282</c:v>
                </c:pt>
                <c:pt idx="25">
                  <c:v>2.6107</c:v>
                </c:pt>
                <c:pt idx="26">
                  <c:v>2.5979</c:v>
                </c:pt>
                <c:pt idx="27">
                  <c:v>2.6152</c:v>
                </c:pt>
                <c:pt idx="28">
                  <c:v>2.646</c:v>
                </c:pt>
                <c:pt idx="29">
                  <c:v>2.6635</c:v>
                </c:pt>
                <c:pt idx="30">
                  <c:v>2.6769</c:v>
                </c:pt>
                <c:pt idx="31">
                  <c:v>2.6879</c:v>
                </c:pt>
                <c:pt idx="32">
                  <c:v>2.6193</c:v>
                </c:pt>
                <c:pt idx="33">
                  <c:v>2.5572</c:v>
                </c:pt>
                <c:pt idx="34">
                  <c:v>2.6393</c:v>
                </c:pt>
                <c:pt idx="35">
                  <c:v>2.6363</c:v>
                </c:pt>
                <c:pt idx="36">
                  <c:v>2.6812</c:v>
                </c:pt>
                <c:pt idx="37">
                  <c:v>2.759</c:v>
                </c:pt>
                <c:pt idx="38">
                  <c:v>2.3452</c:v>
                </c:pt>
                <c:pt idx="39">
                  <c:v>2.2875</c:v>
                </c:pt>
                <c:pt idx="40">
                  <c:v>2.3271</c:v>
                </c:pt>
                <c:pt idx="41">
                  <c:v>2.3651</c:v>
                </c:pt>
                <c:pt idx="42">
                  <c:v>2.3742</c:v>
                </c:pt>
                <c:pt idx="43">
                  <c:v>2.3802</c:v>
                </c:pt>
                <c:pt idx="44">
                  <c:v>2.3743</c:v>
                </c:pt>
                <c:pt idx="45">
                  <c:v>2.4879</c:v>
                </c:pt>
                <c:pt idx="46">
                  <c:v>2.6032</c:v>
                </c:pt>
                <c:pt idx="47">
                  <c:v>2.625</c:v>
                </c:pt>
                <c:pt idx="48">
                  <c:v>2.6026</c:v>
                </c:pt>
                <c:pt idx="49">
                  <c:v>2.6175</c:v>
                </c:pt>
                <c:pt idx="50">
                  <c:v>2.6186</c:v>
                </c:pt>
                <c:pt idx="51">
                  <c:v>2.6289</c:v>
                </c:pt>
                <c:pt idx="52">
                  <c:v>1.970730661855425</c:v>
                </c:pt>
                <c:pt idx="53">
                  <c:v>1.970730661855425</c:v>
                </c:pt>
                <c:pt idx="54">
                  <c:v>2.7970809697272476</c:v>
                </c:pt>
              </c:numCache>
            </c:numRef>
          </c:xVal>
          <c:yVal>
            <c:numRef>
              <c:f>Sheet1!$B$147:$B$201</c:f>
              <c:numCache>
                <c:formatCode>General</c:formatCode>
                <c:ptCount val="55"/>
                <c:pt idx="0">
                  <c:v>0.04768042232567213</c:v>
                </c:pt>
                <c:pt idx="1">
                  <c:v>0.04768281971069544</c:v>
                </c:pt>
                <c:pt idx="2">
                  <c:v>0.04730163549198855</c:v>
                </c:pt>
                <c:pt idx="3">
                  <c:v>0.04754536963602545</c:v>
                </c:pt>
                <c:pt idx="4">
                  <c:v>0.0476061033899494</c:v>
                </c:pt>
                <c:pt idx="5">
                  <c:v>0.047629278111841436</c:v>
                </c:pt>
                <c:pt idx="6">
                  <c:v>0.0475181992724279</c:v>
                </c:pt>
                <c:pt idx="7">
                  <c:v>0.04734398929406709</c:v>
                </c:pt>
                <c:pt idx="8">
                  <c:v>0.04751100711735795</c:v>
                </c:pt>
                <c:pt idx="9">
                  <c:v>0.04746385854523278</c:v>
                </c:pt>
                <c:pt idx="10">
                  <c:v>0.04747105070030272</c:v>
                </c:pt>
                <c:pt idx="11">
                  <c:v>0.047367164015959126</c:v>
                </c:pt>
                <c:pt idx="12">
                  <c:v>0.047406321304673246</c:v>
                </c:pt>
                <c:pt idx="13">
                  <c:v>0.047477443727031554</c:v>
                </c:pt>
                <c:pt idx="14">
                  <c:v>0.047447875978410686</c:v>
                </c:pt>
                <c:pt idx="15">
                  <c:v>0.0474678541869383</c:v>
                </c:pt>
                <c:pt idx="16">
                  <c:v>0.047468653315279406</c:v>
                </c:pt>
                <c:pt idx="17">
                  <c:v>0.04753178445422668</c:v>
                </c:pt>
                <c:pt idx="18">
                  <c:v>0.04752299404247452</c:v>
                </c:pt>
                <c:pt idx="19">
                  <c:v>0.04748623413878371</c:v>
                </c:pt>
                <c:pt idx="20">
                  <c:v>0.04750301583394691</c:v>
                </c:pt>
                <c:pt idx="21">
                  <c:v>0.047518998400769</c:v>
                </c:pt>
                <c:pt idx="22">
                  <c:v>0.0475541600477776</c:v>
                </c:pt>
                <c:pt idx="23">
                  <c:v>0.04757493738464632</c:v>
                </c:pt>
                <c:pt idx="24">
                  <c:v>0.04750781060399353</c:v>
                </c:pt>
                <c:pt idx="25">
                  <c:v>0.04764765806368684</c:v>
                </c:pt>
                <c:pt idx="26">
                  <c:v>0.04774994649134823</c:v>
                </c:pt>
                <c:pt idx="27">
                  <c:v>0.04761169728833713</c:v>
                </c:pt>
                <c:pt idx="28">
                  <c:v>0.04736556575927692</c:v>
                </c:pt>
                <c:pt idx="29">
                  <c:v>0.04722571829958361</c:v>
                </c:pt>
                <c:pt idx="30">
                  <c:v>0.0471186351018756</c:v>
                </c:pt>
                <c:pt idx="31">
                  <c:v>0.047030730984354084</c:v>
                </c:pt>
                <c:pt idx="32">
                  <c:v>0.04757893302635184</c:v>
                </c:pt>
                <c:pt idx="33">
                  <c:v>0.0480751917261778</c:v>
                </c:pt>
                <c:pt idx="34">
                  <c:v>0.04741910735813092</c:v>
                </c:pt>
                <c:pt idx="35">
                  <c:v>0.04744308120836406</c:v>
                </c:pt>
                <c:pt idx="36">
                  <c:v>0.04708427258320809</c:v>
                </c:pt>
                <c:pt idx="37">
                  <c:v>0.04646255073382871</c:v>
                </c:pt>
                <c:pt idx="38">
                  <c:v>0.04976934380931956</c:v>
                </c:pt>
                <c:pt idx="39">
                  <c:v>0.050230440862136926</c:v>
                </c:pt>
                <c:pt idx="40">
                  <c:v>0.0499139860390595</c:v>
                </c:pt>
                <c:pt idx="41">
                  <c:v>0.04961031726943975</c:v>
                </c:pt>
                <c:pt idx="42">
                  <c:v>0.04953759659039923</c:v>
                </c:pt>
                <c:pt idx="43">
                  <c:v>0.04948964888993296</c:v>
                </c:pt>
                <c:pt idx="44">
                  <c:v>0.04953679746205813</c:v>
                </c:pt>
                <c:pt idx="45">
                  <c:v>0.048628987666563296</c:v>
                </c:pt>
                <c:pt idx="46">
                  <c:v>0.04770759268926968</c:v>
                </c:pt>
                <c:pt idx="47">
                  <c:v>0.047533382710908886</c:v>
                </c:pt>
                <c:pt idx="48">
                  <c:v>0.047712387459316316</c:v>
                </c:pt>
                <c:pt idx="49">
                  <c:v>0.047593317336491726</c:v>
                </c:pt>
                <c:pt idx="50">
                  <c:v>0.04758452692473958</c:v>
                </c:pt>
                <c:pt idx="51">
                  <c:v>0.0475022167056058</c:v>
                </c:pt>
                <c:pt idx="52">
                  <c:v>0.052761834419179705</c:v>
                </c:pt>
                <c:pt idx="53">
                  <c:v>0.052761834419179705</c:v>
                </c:pt>
                <c:pt idx="54">
                  <c:v>0.04615823491217081</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4.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9824907883837745"/>
          <c:min val="0.02921780602519658"/>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1274707065924963</c:v>
                </c:pt>
                <c:pt idx="1">
                  <c:v>1.146366003787879</c:v>
                </c:pt>
                <c:pt idx="2">
                  <c:v>1.146391874335656</c:v>
                </c:pt>
                <c:pt idx="3">
                  <c:v>1.1393188854489165</c:v>
                </c:pt>
                <c:pt idx="4">
                  <c:v>1.1310575867844972</c:v>
                </c:pt>
                <c:pt idx="5">
                  <c:v>1.1198151357596764</c:v>
                </c:pt>
                <c:pt idx="6">
                  <c:v>1.0987533750789913</c:v>
                </c:pt>
                <c:pt idx="7">
                  <c:v>1.0468864883207962</c:v>
                </c:pt>
                <c:pt idx="8">
                  <c:v>1.0423211662334726</c:v>
                </c:pt>
                <c:pt idx="9">
                  <c:v>1.054141208418194</c:v>
                </c:pt>
                <c:pt idx="10">
                  <c:v>1.024324476153025</c:v>
                </c:pt>
                <c:pt idx="11">
                  <c:v>0.9750843216189751</c:v>
                </c:pt>
                <c:pt idx="12">
                  <c:v>0.9880074320139631</c:v>
                </c:pt>
                <c:pt idx="13">
                  <c:v>0.9544017307372274</c:v>
                </c:pt>
                <c:pt idx="14">
                  <c:v>0.8187856312614159</c:v>
                </c:pt>
                <c:pt idx="15">
                  <c:v>1.055764341770753</c:v>
                </c:pt>
                <c:pt idx="16">
                  <c:v>1.2430948327933666</c:v>
                </c:pt>
                <c:pt idx="17">
                  <c:v>1.293799049408644</c:v>
                </c:pt>
                <c:pt idx="18">
                  <c:v>1.3287108941646328</c:v>
                </c:pt>
                <c:pt idx="19">
                  <c:v>1.350673194614443</c:v>
                </c:pt>
                <c:pt idx="20">
                  <c:v>1.3606511679768076</c:v>
                </c:pt>
                <c:pt idx="21">
                  <c:v>1.366012707613421</c:v>
                </c:pt>
                <c:pt idx="22">
                  <c:v>1.3691575706689059</c:v>
                </c:pt>
                <c:pt idx="23">
                  <c:v>1.3788344415265126</c:v>
                </c:pt>
                <c:pt idx="24">
                  <c:v>1.3855280094017572</c:v>
                </c:pt>
                <c:pt idx="25">
                  <c:v>1.385235801501064</c:v>
                </c:pt>
                <c:pt idx="26">
                  <c:v>1.4082067380458547</c:v>
                </c:pt>
                <c:pt idx="27">
                  <c:v>1.420373267769334</c:v>
                </c:pt>
                <c:pt idx="28">
                  <c:v>1.4078581749472046</c:v>
                </c:pt>
                <c:pt idx="29">
                  <c:v>1.3963248764780993</c:v>
                </c:pt>
                <c:pt idx="30">
                  <c:v>1.3975175929517372</c:v>
                </c:pt>
                <c:pt idx="31">
                  <c:v>1.3878744414409445</c:v>
                </c:pt>
                <c:pt idx="32">
                  <c:v>1.3853286513771537</c:v>
                </c:pt>
                <c:pt idx="33">
                  <c:v>1.385401219311254</c:v>
                </c:pt>
                <c:pt idx="34">
                  <c:v>1.3790478292050532</c:v>
                </c:pt>
                <c:pt idx="35">
                  <c:v>1.3940033314825098</c:v>
                </c:pt>
                <c:pt idx="36">
                  <c:v>1.3967227733808938</c:v>
                </c:pt>
                <c:pt idx="37">
                  <c:v>1.392706013363029</c:v>
                </c:pt>
                <c:pt idx="38">
                  <c:v>1.4068657896222687</c:v>
                </c:pt>
                <c:pt idx="39">
                  <c:v>1.6653509065364287</c:v>
                </c:pt>
                <c:pt idx="40">
                  <c:v>1.8959303657326103</c:v>
                </c:pt>
                <c:pt idx="41">
                  <c:v>1.9361119799812327</c:v>
                </c:pt>
                <c:pt idx="42">
                  <c:v>1.9640765943978478</c:v>
                </c:pt>
                <c:pt idx="43">
                  <c:v>1.9712602499800973</c:v>
                </c:pt>
                <c:pt idx="44">
                  <c:v>1.9951612903225808</c:v>
                </c:pt>
                <c:pt idx="45">
                  <c:v>2.003807209396517</c:v>
                </c:pt>
                <c:pt idx="46">
                  <c:v>2.143985419198056</c:v>
                </c:pt>
                <c:pt idx="47">
                  <c:v>2.067957894736842</c:v>
                </c:pt>
                <c:pt idx="48">
                  <c:v>2.0808736717827627</c:v>
                </c:pt>
                <c:pt idx="49">
                  <c:v>2.1355549770025166</c:v>
                </c:pt>
                <c:pt idx="50">
                  <c:v>2.195418627363935</c:v>
                </c:pt>
                <c:pt idx="51">
                  <c:v>3.4809490579204465</c:v>
                </c:pt>
                <c:pt idx="52">
                  <c:v>1.6002982365145229</c:v>
                </c:pt>
                <c:pt idx="53">
                  <c:v>1.472754491017964</c:v>
                </c:pt>
                <c:pt idx="54">
                  <c:v>1.4365004703668862</c:v>
                </c:pt>
                <c:pt idx="55">
                  <c:v>1.4393912788996197</c:v>
                </c:pt>
                <c:pt idx="56">
                  <c:v>1.4367099667967613</c:v>
                </c:pt>
                <c:pt idx="57">
                  <c:v>1.4164309220021938</c:v>
                </c:pt>
                <c:pt idx="58">
                  <c:v>1.4185148914107957</c:v>
                </c:pt>
                <c:pt idx="59">
                  <c:v>1.4167434362045142</c:v>
                </c:pt>
                <c:pt idx="60">
                  <c:v>1.4048668766103636</c:v>
                </c:pt>
                <c:pt idx="61">
                  <c:v>1.4029603383243798</c:v>
                </c:pt>
                <c:pt idx="62">
                  <c:v>1.3981365039442093</c:v>
                </c:pt>
                <c:pt idx="63">
                  <c:v>1.401793363413102</c:v>
                </c:pt>
                <c:pt idx="64">
                  <c:v>1.4045906132237067</c:v>
                </c:pt>
              </c:numCache>
            </c:numRef>
          </c:xVal>
          <c:yVal>
            <c:numRef>
              <c:f>Sheet1!$B$2:$B$66</c:f>
              <c:numCache>
                <c:formatCode>General</c:formatCode>
                <c:ptCount val="65"/>
                <c:pt idx="0">
                  <c:v>0.029690547533424656</c:v>
                </c:pt>
                <c:pt idx="1">
                  <c:v>0.030504353220229798</c:v>
                </c:pt>
                <c:pt idx="2">
                  <c:v>0.03191086416800347</c:v>
                </c:pt>
                <c:pt idx="3">
                  <c:v>0.03332633837312879</c:v>
                </c:pt>
                <c:pt idx="4">
                  <c:v>0.033685352845753976</c:v>
                </c:pt>
                <c:pt idx="5">
                  <c:v>0.03204163399524042</c:v>
                </c:pt>
                <c:pt idx="6">
                  <c:v>0.03032108207337031</c:v>
                </c:pt>
                <c:pt idx="7">
                  <c:v>0.027693388349309886</c:v>
                </c:pt>
                <c:pt idx="8">
                  <c:v>0.026229182080884508</c:v>
                </c:pt>
                <c:pt idx="9">
                  <c:v>0.02552692133593828</c:v>
                </c:pt>
                <c:pt idx="10">
                  <c:v>0.02046462541351441</c:v>
                </c:pt>
                <c:pt idx="11">
                  <c:v>0.017280513326388185</c:v>
                </c:pt>
                <c:pt idx="12">
                  <c:v>0.014485829403525519</c:v>
                </c:pt>
                <c:pt idx="13">
                  <c:v>0.011764342132915467</c:v>
                </c:pt>
                <c:pt idx="14">
                  <c:v>0.018721095373376427</c:v>
                </c:pt>
                <c:pt idx="15">
                  <c:v>0.03164702359992543</c:v>
                </c:pt>
                <c:pt idx="16">
                  <c:v>0.03788280524990057</c:v>
                </c:pt>
                <c:pt idx="17">
                  <c:v>0.03809631382767742</c:v>
                </c:pt>
                <c:pt idx="18">
                  <c:v>0.03835558718328059</c:v>
                </c:pt>
                <c:pt idx="19">
                  <c:v>0.0382235471855558</c:v>
                </c:pt>
                <c:pt idx="20">
                  <c:v>0.038902417042350874</c:v>
                </c:pt>
                <c:pt idx="21">
                  <c:v>0.03948115753029376</c:v>
                </c:pt>
                <c:pt idx="22">
                  <c:v>0.03924936838718465</c:v>
                </c:pt>
                <c:pt idx="23">
                  <c:v>0.03817925274504843</c:v>
                </c:pt>
                <c:pt idx="24">
                  <c:v>0.03770302320278363</c:v>
                </c:pt>
                <c:pt idx="25">
                  <c:v>0.03845814433717503</c:v>
                </c:pt>
                <c:pt idx="26">
                  <c:v>0.03804121327405534</c:v>
                </c:pt>
                <c:pt idx="27">
                  <c:v>0.038149936298096966</c:v>
                </c:pt>
                <c:pt idx="28">
                  <c:v>0.0376837803135794</c:v>
                </c:pt>
                <c:pt idx="29">
                  <c:v>0.03780231340305089</c:v>
                </c:pt>
                <c:pt idx="30">
                  <c:v>0.03821839019223843</c:v>
                </c:pt>
                <c:pt idx="31">
                  <c:v>0.03671178635405633</c:v>
                </c:pt>
                <c:pt idx="32">
                  <c:v>0.03606331012223414</c:v>
                </c:pt>
                <c:pt idx="33">
                  <c:v>0.036806321287471265</c:v>
                </c:pt>
                <c:pt idx="34">
                  <c:v>0.0375560995967301</c:v>
                </c:pt>
                <c:pt idx="35">
                  <c:v>0.03785467299088445</c:v>
                </c:pt>
                <c:pt idx="36">
                  <c:v>0.03700783237091493</c:v>
                </c:pt>
                <c:pt idx="37">
                  <c:v>0.03748714705118175</c:v>
                </c:pt>
                <c:pt idx="38">
                  <c:v>0.03721323888014908</c:v>
                </c:pt>
                <c:pt idx="39">
                  <c:v>0.03636835780634545</c:v>
                </c:pt>
                <c:pt idx="40">
                  <c:v>0.03468396283689571</c:v>
                </c:pt>
                <c:pt idx="41">
                  <c:v>0.03403756643594305</c:v>
                </c:pt>
                <c:pt idx="42">
                  <c:v>0.03463506320010053</c:v>
                </c:pt>
                <c:pt idx="43">
                  <c:v>0.034838221641508786</c:v>
                </c:pt>
                <c:pt idx="44">
                  <c:v>0.03451819857396406</c:v>
                </c:pt>
                <c:pt idx="45">
                  <c:v>0.03354901495493474</c:v>
                </c:pt>
                <c:pt idx="46">
                  <c:v>0.03244447405421811</c:v>
                </c:pt>
                <c:pt idx="47">
                  <c:v>0.03321285452900701</c:v>
                </c:pt>
                <c:pt idx="48">
                  <c:v>0.03242143120365882</c:v>
                </c:pt>
                <c:pt idx="49">
                  <c:v>0.029709703847729384</c:v>
                </c:pt>
                <c:pt idx="50">
                  <c:v>0.027319338165626726</c:v>
                </c:pt>
                <c:pt idx="51">
                  <c:v>0.021979227475209705</c:v>
                </c:pt>
                <c:pt idx="52">
                  <c:v>0.03834719377408351</c:v>
                </c:pt>
                <c:pt idx="53">
                  <c:v>0.03785284514486143</c:v>
                </c:pt>
                <c:pt idx="54">
                  <c:v>0.03620702626566401</c:v>
                </c:pt>
                <c:pt idx="55">
                  <c:v>0.036703808697891235</c:v>
                </c:pt>
                <c:pt idx="56">
                  <c:v>0.03713482985006164</c:v>
                </c:pt>
                <c:pt idx="57">
                  <c:v>0.03701095099667382</c:v>
                </c:pt>
                <c:pt idx="58">
                  <c:v>0.03661180146470757</c:v>
                </c:pt>
                <c:pt idx="59">
                  <c:v>0.03599024030600327</c:v>
                </c:pt>
                <c:pt idx="60">
                  <c:v>0.03710788098736912</c:v>
                </c:pt>
                <c:pt idx="61">
                  <c:v>0.037804706104593994</c:v>
                </c:pt>
                <c:pt idx="62">
                  <c:v>0.03762744915741118</c:v>
                </c:pt>
                <c:pt idx="63">
                  <c:v>0.03609165060362217</c:v>
                </c:pt>
                <c:pt idx="64">
                  <c:v>0.03650903608512446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968878248974008</c:v>
                </c:pt>
                <c:pt idx="1">
                  <c:v>1.385155807365439</c:v>
                </c:pt>
                <c:pt idx="2">
                  <c:v>1.3883346559347014</c:v>
                </c:pt>
                <c:pt idx="3">
                  <c:v>1.3896243494003169</c:v>
                </c:pt>
                <c:pt idx="4">
                  <c:v>1.3986129270649763</c:v>
                </c:pt>
                <c:pt idx="5">
                  <c:v>1.4036313649120797</c:v>
                </c:pt>
                <c:pt idx="6">
                  <c:v>1.4060710194730814</c:v>
                </c:pt>
                <c:pt idx="7">
                  <c:v>1.4029440403230424</c:v>
                </c:pt>
                <c:pt idx="8">
                  <c:v>1.4141350452825863</c:v>
                </c:pt>
                <c:pt idx="9">
                  <c:v>1.4114774816176472</c:v>
                </c:pt>
                <c:pt idx="10">
                  <c:v>1.4118762934007818</c:v>
                </c:pt>
                <c:pt idx="11">
                  <c:v>1.4016887816646562</c:v>
                </c:pt>
                <c:pt idx="12">
                  <c:v>1.3640960809102403</c:v>
                </c:pt>
                <c:pt idx="13">
                  <c:v>1.3289700310024113</c:v>
                </c:pt>
                <c:pt idx="14">
                  <c:v>1.2950763227361415</c:v>
                </c:pt>
                <c:pt idx="15">
                  <c:v>1.284065460809647</c:v>
                </c:pt>
                <c:pt idx="16">
                  <c:v>1.3356113248722217</c:v>
                </c:pt>
                <c:pt idx="17">
                  <c:v>1.3833773997011152</c:v>
                </c:pt>
                <c:pt idx="18">
                  <c:v>1.392801701834071</c:v>
                </c:pt>
                <c:pt idx="19">
                  <c:v>1.4035683453237409</c:v>
                </c:pt>
                <c:pt idx="20">
                  <c:v>1.4047399907961344</c:v>
                </c:pt>
                <c:pt idx="21">
                  <c:v>1.4090647316286569</c:v>
                </c:pt>
                <c:pt idx="22">
                  <c:v>1.4049896289467618</c:v>
                </c:pt>
                <c:pt idx="23">
                  <c:v>1.4089362928797924</c:v>
                </c:pt>
                <c:pt idx="24">
                  <c:v>1.3999654457498272</c:v>
                </c:pt>
                <c:pt idx="25">
                  <c:v>1.400138217000691</c:v>
                </c:pt>
                <c:pt idx="26">
                  <c:v>1.4555495527942854</c:v>
                </c:pt>
                <c:pt idx="27">
                  <c:v>1.629064767535609</c:v>
                </c:pt>
                <c:pt idx="28">
                  <c:v>1.7118548330156043</c:v>
                </c:pt>
                <c:pt idx="29">
                  <c:v>1.7396914648212227</c:v>
                </c:pt>
                <c:pt idx="30">
                  <c:v>1.7605675003656576</c:v>
                </c:pt>
                <c:pt idx="31">
                  <c:v>1.796673102628843</c:v>
                </c:pt>
                <c:pt idx="32">
                  <c:v>1.8614601804024362</c:v>
                </c:pt>
                <c:pt idx="33">
                  <c:v>1.9028139039962166</c:v>
                </c:pt>
                <c:pt idx="34">
                  <c:v>2.0465528894896923</c:v>
                </c:pt>
                <c:pt idx="35">
                  <c:v>2.0100917431192658</c:v>
                </c:pt>
                <c:pt idx="36">
                  <c:v>1.9487643158529235</c:v>
                </c:pt>
                <c:pt idx="37">
                  <c:v>1.9220207709910226</c:v>
                </c:pt>
                <c:pt idx="38">
                  <c:v>3.05771759137523</c:v>
                </c:pt>
                <c:pt idx="39">
                  <c:v>1.4620321578165112</c:v>
                </c:pt>
                <c:pt idx="40">
                  <c:v>1.3579521097434013</c:v>
                </c:pt>
                <c:pt idx="41">
                  <c:v>1.372491145218418</c:v>
                </c:pt>
                <c:pt idx="42">
                  <c:v>1.2691060676239</c:v>
                </c:pt>
                <c:pt idx="43">
                  <c:v>1.2526207252105173</c:v>
                </c:pt>
                <c:pt idx="44">
                  <c:v>1.2416718865668241</c:v>
                </c:pt>
                <c:pt idx="45">
                  <c:v>1.234848484848485</c:v>
                </c:pt>
                <c:pt idx="46">
                  <c:v>1.2442276053781132</c:v>
                </c:pt>
                <c:pt idx="47">
                  <c:v>1.2636807447774752</c:v>
                </c:pt>
                <c:pt idx="48">
                  <c:v>1.2708699846773734</c:v>
                </c:pt>
                <c:pt idx="49">
                  <c:v>1.2971389176146157</c:v>
                </c:pt>
                <c:pt idx="50">
                  <c:v>1.2753697383390217</c:v>
                </c:pt>
                <c:pt idx="51">
                  <c:v>1.125021339554999</c:v>
                </c:pt>
              </c:numCache>
            </c:numRef>
          </c:xVal>
          <c:yVal>
            <c:numRef>
              <c:f>Sheet1!$B$69:$B$120</c:f>
              <c:numCache>
                <c:formatCode>General</c:formatCode>
                <c:ptCount val="52"/>
                <c:pt idx="0">
                  <c:v>0.037340950619097556</c:v>
                </c:pt>
                <c:pt idx="1">
                  <c:v>0.037890416996516595</c:v>
                </c:pt>
                <c:pt idx="2">
                  <c:v>0.03779803805375537</c:v>
                </c:pt>
                <c:pt idx="3">
                  <c:v>0.03742296918767507</c:v>
                </c:pt>
                <c:pt idx="4">
                  <c:v>0.03798156020437342</c:v>
                </c:pt>
                <c:pt idx="5">
                  <c:v>0.037663676107433486</c:v>
                </c:pt>
                <c:pt idx="6">
                  <c:v>0.03579392973681803</c:v>
                </c:pt>
                <c:pt idx="7">
                  <c:v>0.03677705477706304</c:v>
                </c:pt>
                <c:pt idx="8">
                  <c:v>0.0365768695930282</c:v>
                </c:pt>
                <c:pt idx="9">
                  <c:v>0.037904711996922406</c:v>
                </c:pt>
                <c:pt idx="10">
                  <c:v>0.03700330913475105</c:v>
                </c:pt>
                <c:pt idx="11">
                  <c:v>0.036769219993160365</c:v>
                </c:pt>
                <c:pt idx="12">
                  <c:v>0.03626243508582191</c:v>
                </c:pt>
                <c:pt idx="13">
                  <c:v>0.03497680413576329</c:v>
                </c:pt>
                <c:pt idx="14">
                  <c:v>0.03400846998867864</c:v>
                </c:pt>
                <c:pt idx="15">
                  <c:v>0.03395552098616159</c:v>
                </c:pt>
                <c:pt idx="16">
                  <c:v>0.03537015693875871</c:v>
                </c:pt>
                <c:pt idx="17">
                  <c:v>0.03720849676441061</c:v>
                </c:pt>
                <c:pt idx="18">
                  <c:v>0.036089212973935615</c:v>
                </c:pt>
                <c:pt idx="19">
                  <c:v>0.03591294018974349</c:v>
                </c:pt>
                <c:pt idx="20">
                  <c:v>0.035760615048564974</c:v>
                </c:pt>
                <c:pt idx="21">
                  <c:v>0.03702311297985028</c:v>
                </c:pt>
                <c:pt idx="22">
                  <c:v>0.03675608817693677</c:v>
                </c:pt>
                <c:pt idx="23">
                  <c:v>0.0366436207846421</c:v>
                </c:pt>
                <c:pt idx="24">
                  <c:v>0.036771211527475485</c:v>
                </c:pt>
                <c:pt idx="25">
                  <c:v>0.03679805566839081</c:v>
                </c:pt>
                <c:pt idx="26">
                  <c:v>0.03669919426098679</c:v>
                </c:pt>
                <c:pt idx="27">
                  <c:v>0.03538009003050321</c:v>
                </c:pt>
                <c:pt idx="28">
                  <c:v>0.03519838394444854</c:v>
                </c:pt>
                <c:pt idx="29">
                  <c:v>0.0345489145563988</c:v>
                </c:pt>
                <c:pt idx="30">
                  <c:v>0.03506388914406295</c:v>
                </c:pt>
                <c:pt idx="31">
                  <c:v>0.03473630831643002</c:v>
                </c:pt>
                <c:pt idx="32">
                  <c:v>0.03346360186679461</c:v>
                </c:pt>
                <c:pt idx="33">
                  <c:v>0.03249152472880211</c:v>
                </c:pt>
                <c:pt idx="34">
                  <c:v>0.0300490414238373</c:v>
                </c:pt>
                <c:pt idx="35">
                  <c:v>0.03159880627345426</c:v>
                </c:pt>
                <c:pt idx="36">
                  <c:v>0.03140164449827593</c:v>
                </c:pt>
                <c:pt idx="37">
                  <c:v>0.02842976076684027</c:v>
                </c:pt>
                <c:pt idx="38">
                  <c:v>0.01934514215608266</c:v>
                </c:pt>
                <c:pt idx="39">
                  <c:v>0.03524003784250487</c:v>
                </c:pt>
                <c:pt idx="40">
                  <c:v>0.03268791072385978</c:v>
                </c:pt>
                <c:pt idx="41">
                  <c:v>0.033305248975938735</c:v>
                </c:pt>
                <c:pt idx="42">
                  <c:v>0.042363294223503524</c:v>
                </c:pt>
                <c:pt idx="43">
                  <c:v>0.044509722784612224</c:v>
                </c:pt>
                <c:pt idx="44">
                  <c:v>0.04437700535655545</c:v>
                </c:pt>
                <c:pt idx="45">
                  <c:v>0.04458848799476242</c:v>
                </c:pt>
                <c:pt idx="46">
                  <c:v>0.045434489444606714</c:v>
                </c:pt>
                <c:pt idx="47">
                  <c:v>0.04450835839790746</c:v>
                </c:pt>
                <c:pt idx="48">
                  <c:v>0.04415997600665371</c:v>
                </c:pt>
                <c:pt idx="49">
                  <c:v>0.041861655367044476</c:v>
                </c:pt>
                <c:pt idx="50">
                  <c:v>0.04130395024709216</c:v>
                </c:pt>
                <c:pt idx="51">
                  <c:v>0.049403883313917915</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0824681724087164</c:v>
                </c:pt>
              </c:numCache>
            </c:numRef>
          </c:xVal>
          <c:yVal>
            <c:numRef>
              <c:f>Sheet1!$B$123:$B$124</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0824681724087164</c:v>
                </c:pt>
                <c:pt idx="1">
                  <c:v>1.0824681724087164</c:v>
                </c:pt>
              </c:numCache>
            </c:numRef>
          </c:xVal>
          <c:yVal>
            <c:numRef>
              <c:f>Sheet1!$B$127:$B$128</c:f>
              <c:numCache>
                <c:formatCode>General</c:formatCode>
                <c:ptCount val="2"/>
                <c:pt idx="0">
                  <c:v>0.04182646312915072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0824681724087164</c:v>
                </c:pt>
              </c:numCache>
            </c:numRef>
          </c:xVal>
          <c:yVal>
            <c:numRef>
              <c:f>Sheet1!$B$131:$B$132</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0824681724087164</c:v>
                </c:pt>
                <c:pt idx="1">
                  <c:v>1.0824681724087164</c:v>
                </c:pt>
              </c:numCache>
            </c:numRef>
          </c:xVal>
          <c:yVal>
            <c:numRef>
              <c:f>Sheet1!$B$135:$B$136</c:f>
              <c:numCache>
                <c:formatCode>General</c:formatCode>
                <c:ptCount val="2"/>
                <c:pt idx="0">
                  <c:v>0.04182646312915072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0824681724087164</c:v>
                </c:pt>
              </c:numCache>
            </c:numRef>
          </c:xVal>
          <c:yVal>
            <c:numRef>
              <c:f>Sheet1!$B$139:$B$140</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0824681724087164</c:v>
                </c:pt>
                <c:pt idx="1">
                  <c:v>1.0824681724087164</c:v>
                </c:pt>
              </c:numCache>
            </c:numRef>
          </c:xVal>
          <c:yVal>
            <c:numRef>
              <c:f>Sheet1!$B$143:$B$144</c:f>
              <c:numCache>
                <c:formatCode>General</c:formatCode>
                <c:ptCount val="2"/>
                <c:pt idx="0">
                  <c:v>0.04182646312915072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968878248974008</c:v>
                </c:pt>
                <c:pt idx="1">
                  <c:v>1.385155807365439</c:v>
                </c:pt>
                <c:pt idx="2">
                  <c:v>1.3883346559347014</c:v>
                </c:pt>
                <c:pt idx="3">
                  <c:v>1.3896243494003169</c:v>
                </c:pt>
                <c:pt idx="4">
                  <c:v>1.3986129270649763</c:v>
                </c:pt>
                <c:pt idx="5">
                  <c:v>1.4036313649120797</c:v>
                </c:pt>
                <c:pt idx="6">
                  <c:v>1.4060710194730814</c:v>
                </c:pt>
                <c:pt idx="7">
                  <c:v>1.4029440403230424</c:v>
                </c:pt>
                <c:pt idx="8">
                  <c:v>1.4141350452825863</c:v>
                </c:pt>
                <c:pt idx="9">
                  <c:v>1.4114774816176472</c:v>
                </c:pt>
                <c:pt idx="10">
                  <c:v>1.4118762934007818</c:v>
                </c:pt>
                <c:pt idx="11">
                  <c:v>1.4016887816646562</c:v>
                </c:pt>
                <c:pt idx="12">
                  <c:v>1.3640960809102403</c:v>
                </c:pt>
                <c:pt idx="13">
                  <c:v>1.3289700310024113</c:v>
                </c:pt>
                <c:pt idx="14">
                  <c:v>1.2950763227361415</c:v>
                </c:pt>
                <c:pt idx="15">
                  <c:v>1.284065460809647</c:v>
                </c:pt>
                <c:pt idx="16">
                  <c:v>1.3356113248722217</c:v>
                </c:pt>
                <c:pt idx="17">
                  <c:v>1.3833773997011152</c:v>
                </c:pt>
                <c:pt idx="18">
                  <c:v>1.392801701834071</c:v>
                </c:pt>
                <c:pt idx="19">
                  <c:v>1.4035683453237409</c:v>
                </c:pt>
                <c:pt idx="20">
                  <c:v>1.4047399907961344</c:v>
                </c:pt>
                <c:pt idx="21">
                  <c:v>1.4090647316286569</c:v>
                </c:pt>
                <c:pt idx="22">
                  <c:v>1.4049896289467618</c:v>
                </c:pt>
                <c:pt idx="23">
                  <c:v>1.4089362928797924</c:v>
                </c:pt>
                <c:pt idx="24">
                  <c:v>1.3999654457498272</c:v>
                </c:pt>
                <c:pt idx="25">
                  <c:v>1.400138217000691</c:v>
                </c:pt>
                <c:pt idx="26">
                  <c:v>1.4555495527942854</c:v>
                </c:pt>
                <c:pt idx="27">
                  <c:v>1.629064767535609</c:v>
                </c:pt>
                <c:pt idx="28">
                  <c:v>1.7118548330156043</c:v>
                </c:pt>
                <c:pt idx="29">
                  <c:v>1.7396914648212227</c:v>
                </c:pt>
                <c:pt idx="30">
                  <c:v>1.7605675003656576</c:v>
                </c:pt>
                <c:pt idx="31">
                  <c:v>1.796673102628843</c:v>
                </c:pt>
                <c:pt idx="32">
                  <c:v>1.8614601804024362</c:v>
                </c:pt>
                <c:pt idx="33">
                  <c:v>1.9028139039962166</c:v>
                </c:pt>
                <c:pt idx="34">
                  <c:v>2.0465528894896923</c:v>
                </c:pt>
                <c:pt idx="35">
                  <c:v>2.0100917431192658</c:v>
                </c:pt>
                <c:pt idx="36">
                  <c:v>1.9487643158529235</c:v>
                </c:pt>
                <c:pt idx="37">
                  <c:v>1.9220207709910226</c:v>
                </c:pt>
                <c:pt idx="38">
                  <c:v>3.05771759137523</c:v>
                </c:pt>
                <c:pt idx="39">
                  <c:v>1.4620321578165112</c:v>
                </c:pt>
                <c:pt idx="40">
                  <c:v>1.3579521097434013</c:v>
                </c:pt>
                <c:pt idx="41">
                  <c:v>1.372491145218418</c:v>
                </c:pt>
                <c:pt idx="42">
                  <c:v>1.2691060676239</c:v>
                </c:pt>
                <c:pt idx="43">
                  <c:v>1.2526207252105173</c:v>
                </c:pt>
                <c:pt idx="44">
                  <c:v>1.2416718865668241</c:v>
                </c:pt>
                <c:pt idx="45">
                  <c:v>1.234848484848485</c:v>
                </c:pt>
                <c:pt idx="46">
                  <c:v>1.2442276053781132</c:v>
                </c:pt>
                <c:pt idx="47">
                  <c:v>1.2636807447774752</c:v>
                </c:pt>
                <c:pt idx="48">
                  <c:v>1.2708699846773734</c:v>
                </c:pt>
                <c:pt idx="49">
                  <c:v>1.2971389176146157</c:v>
                </c:pt>
                <c:pt idx="50">
                  <c:v>1.2753697383390217</c:v>
                </c:pt>
                <c:pt idx="51">
                  <c:v>1.125021339554999</c:v>
                </c:pt>
                <c:pt idx="52">
                  <c:v>1.0824681724087164</c:v>
                </c:pt>
                <c:pt idx="53">
                  <c:v>1.0824681724087164</c:v>
                </c:pt>
                <c:pt idx="54">
                  <c:v>1.0824681724087164</c:v>
                </c:pt>
              </c:numCache>
            </c:numRef>
          </c:xVal>
          <c:yVal>
            <c:numRef>
              <c:f>Sheet1!$B$147:$B$201</c:f>
              <c:numCache>
                <c:formatCode>General</c:formatCode>
                <c:ptCount val="55"/>
                <c:pt idx="0">
                  <c:v>0.03794394939558571</c:v>
                </c:pt>
                <c:pt idx="1">
                  <c:v>0.03808881858181416</c:v>
                </c:pt>
                <c:pt idx="2">
                  <c:v>0.03804956555443691</c:v>
                </c:pt>
                <c:pt idx="3">
                  <c:v>0.0380336401739694</c:v>
                </c:pt>
                <c:pt idx="4">
                  <c:v>0.037922647505565794</c:v>
                </c:pt>
                <c:pt idx="5">
                  <c:v>0.03786067887953304</c:v>
                </c:pt>
                <c:pt idx="6">
                  <c:v>0.03783055356051028</c:v>
                </c:pt>
                <c:pt idx="7">
                  <c:v>0.03786916609442317</c:v>
                </c:pt>
                <c:pt idx="8">
                  <c:v>0.03773097743444624</c:v>
                </c:pt>
                <c:pt idx="9">
                  <c:v>0.037763793536573706</c:v>
                </c:pt>
                <c:pt idx="10">
                  <c:v>0.0377588689327429</c:v>
                </c:pt>
                <c:pt idx="11">
                  <c:v>0.037884666267334714</c:v>
                </c:pt>
                <c:pt idx="12">
                  <c:v>0.03834886809379679</c:v>
                </c:pt>
                <c:pt idx="13">
                  <c:v>0.0387826112459617</c:v>
                </c:pt>
                <c:pt idx="14">
                  <c:v>0.039201137208902184</c:v>
                </c:pt>
                <c:pt idx="15">
                  <c:v>0.03933710142840828</c:v>
                </c:pt>
                <c:pt idx="16">
                  <c:v>0.03870060328477324</c:v>
                </c:pt>
                <c:pt idx="17">
                  <c:v>0.038110778698257144</c:v>
                </c:pt>
                <c:pt idx="18">
                  <c:v>0.03799440562115827</c:v>
                </c:pt>
                <c:pt idx="19">
                  <c:v>0.03786145705740859</c:v>
                </c:pt>
                <c:pt idx="20">
                  <c:v>0.03784698935603742</c:v>
                </c:pt>
                <c:pt idx="21">
                  <c:v>0.037793586632818704</c:v>
                </c:pt>
                <c:pt idx="22">
                  <c:v>0.037843906776623054</c:v>
                </c:pt>
                <c:pt idx="23">
                  <c:v>0.037795172618944065</c:v>
                </c:pt>
                <c:pt idx="24">
                  <c:v>0.037905946347329425</c:v>
                </c:pt>
                <c:pt idx="25">
                  <c:v>0.03790381293502859</c:v>
                </c:pt>
                <c:pt idx="26">
                  <c:v>0.03721958321048376</c:v>
                </c:pt>
                <c:pt idx="27">
                  <c:v>0.035076984302039524</c:v>
                </c:pt>
                <c:pt idx="28">
                  <c:v>0.034054676810492394</c:v>
                </c:pt>
                <c:pt idx="29">
                  <c:v>0.03371094478093869</c:v>
                </c:pt>
                <c:pt idx="30">
                  <c:v>0.033453163519296406</c:v>
                </c:pt>
                <c:pt idx="31">
                  <c:v>0.033007324668143496</c:v>
                </c:pt>
                <c:pt idx="32">
                  <c:v>0.03220732149651423</c:v>
                </c:pt>
                <c:pt idx="33">
                  <c:v>0.0316966778439433</c:v>
                </c:pt>
                <c:pt idx="34">
                  <c:v>0.02992176148356342</c:v>
                </c:pt>
                <c:pt idx="35">
                  <c:v>0.030371990661047163</c:v>
                </c:pt>
                <c:pt idx="36">
                  <c:v>0.03112927340950498</c:v>
                </c:pt>
                <c:pt idx="37">
                  <c:v>0.03145950779335692</c:v>
                </c:pt>
                <c:pt idx="38">
                  <c:v>0.01743570722171011</c:v>
                </c:pt>
                <c:pt idx="39">
                  <c:v>0.0371395347693992</c:v>
                </c:pt>
                <c:pt idx="40">
                  <c:v>0.03842473501956009</c:v>
                </c:pt>
                <c:pt idx="41">
                  <c:v>0.03824520424132232</c:v>
                </c:pt>
                <c:pt idx="42">
                  <c:v>0.03952182286369309</c:v>
                </c:pt>
                <c:pt idx="43">
                  <c:v>0.039725387010577276</c:v>
                </c:pt>
                <c:pt idx="44">
                  <c:v>0.03986058535477828</c:v>
                </c:pt>
                <c:pt idx="45">
                  <c:v>0.0399448420183532</c:v>
                </c:pt>
                <c:pt idx="46">
                  <c:v>0.03982902685229467</c:v>
                </c:pt>
                <c:pt idx="47">
                  <c:v>0.03958881578316725</c:v>
                </c:pt>
                <c:pt idx="48">
                  <c:v>0.03950004168007186</c:v>
                </c:pt>
                <c:pt idx="49">
                  <c:v>0.0391756678946304</c:v>
                </c:pt>
                <c:pt idx="50">
                  <c:v>0.039444477865117136</c:v>
                </c:pt>
                <c:pt idx="51">
                  <c:v>0.041301008519222755</c:v>
                </c:pt>
                <c:pt idx="52">
                  <c:v>0.041826463129150726</c:v>
                </c:pt>
                <c:pt idx="53">
                  <c:v>0.041826463129150726</c:v>
                </c:pt>
                <c:pt idx="54">
                  <c:v>0.04182646312915072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9284659976701494"/>
          <c:min val="0.0094114737063323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3130300983262027</c:v>
                </c:pt>
                <c:pt idx="1">
                  <c:v>2.331713153368728</c:v>
                </c:pt>
                <c:pt idx="2">
                  <c:v>2.3349932604463084</c:v>
                </c:pt>
                <c:pt idx="3">
                  <c:v>2.450972387173397</c:v>
                </c:pt>
                <c:pt idx="4">
                  <c:v>2.416193286610107</c:v>
                </c:pt>
                <c:pt idx="5">
                  <c:v>2.4266573673004914</c:v>
                </c:pt>
                <c:pt idx="6">
                  <c:v>2.317248684979544</c:v>
                </c:pt>
                <c:pt idx="7">
                  <c:v>2.254436998306208</c:v>
                </c:pt>
                <c:pt idx="8">
                  <c:v>2.2350803787711957</c:v>
                </c:pt>
                <c:pt idx="9">
                  <c:v>2.2410756695531444</c:v>
                </c:pt>
                <c:pt idx="10">
                  <c:v>2.2605770997978314</c:v>
                </c:pt>
                <c:pt idx="11">
                  <c:v>2.0288794202265197</c:v>
                </c:pt>
                <c:pt idx="12">
                  <c:v>2.0374598774438284</c:v>
                </c:pt>
                <c:pt idx="13">
                  <c:v>2.0515572696841797</c:v>
                </c:pt>
                <c:pt idx="14">
                  <c:v>2.0060639269406395</c:v>
                </c:pt>
                <c:pt idx="15">
                  <c:v>1.669838459836247</c:v>
                </c:pt>
                <c:pt idx="16">
                  <c:v>1.6178437031895074</c:v>
                </c:pt>
                <c:pt idx="17">
                  <c:v>1.6233732718894012</c:v>
                </c:pt>
                <c:pt idx="18">
                  <c:v>1.792427567225797</c:v>
                </c:pt>
                <c:pt idx="19">
                  <c:v>1.7192371171832017</c:v>
                </c:pt>
                <c:pt idx="20">
                  <c:v>2.046984546489006</c:v>
                </c:pt>
                <c:pt idx="21">
                  <c:v>2.0400792050163177</c:v>
                </c:pt>
                <c:pt idx="22">
                  <c:v>1.3896146668130422</c:v>
                </c:pt>
                <c:pt idx="23">
                  <c:v>0.8980142102386591</c:v>
                </c:pt>
                <c:pt idx="24">
                  <c:v>0.9089266353451392</c:v>
                </c:pt>
                <c:pt idx="25">
                  <c:v>0.9081932696845391</c:v>
                </c:pt>
                <c:pt idx="26">
                  <c:v>0.9538785589773386</c:v>
                </c:pt>
                <c:pt idx="27">
                  <c:v>0.9402859852630043</c:v>
                </c:pt>
                <c:pt idx="28">
                  <c:v>0.942560756570507</c:v>
                </c:pt>
                <c:pt idx="29">
                  <c:v>0.9356055059305901</c:v>
                </c:pt>
                <c:pt idx="30">
                  <c:v>0.6111976807392644</c:v>
                </c:pt>
                <c:pt idx="31">
                  <c:v>0.5659747162763971</c:v>
                </c:pt>
                <c:pt idx="32">
                  <c:v>0.5790812670202093</c:v>
                </c:pt>
                <c:pt idx="33">
                  <c:v>0.5995444850150031</c:v>
                </c:pt>
                <c:pt idx="34">
                  <c:v>0.6124126891734575</c:v>
                </c:pt>
                <c:pt idx="35">
                  <c:v>0.6345534407027819</c:v>
                </c:pt>
                <c:pt idx="36">
                  <c:v>0.6479659274489646</c:v>
                </c:pt>
                <c:pt idx="37">
                  <c:v>0.6548122540546504</c:v>
                </c:pt>
                <c:pt idx="38">
                  <c:v>0.7083486982815842</c:v>
                </c:pt>
                <c:pt idx="39">
                  <c:v>0.8196126356330778</c:v>
                </c:pt>
                <c:pt idx="40">
                  <c:v>0.9466382070437567</c:v>
                </c:pt>
                <c:pt idx="41">
                  <c:v>0.9919550363676438</c:v>
                </c:pt>
                <c:pt idx="42">
                  <c:v>1.0846312836790433</c:v>
                </c:pt>
                <c:pt idx="43">
                  <c:v>1.1306715731370747</c:v>
                </c:pt>
                <c:pt idx="44">
                  <c:v>1.4412451645865265</c:v>
                </c:pt>
                <c:pt idx="45">
                  <c:v>1.7819075855087134</c:v>
                </c:pt>
                <c:pt idx="46">
                  <c:v>1.9148004238784881</c:v>
                </c:pt>
                <c:pt idx="47">
                  <c:v>2.004437446321214</c:v>
                </c:pt>
                <c:pt idx="48">
                  <c:v>2.0515295620696996</c:v>
                </c:pt>
                <c:pt idx="49">
                  <c:v>1.940591641666085</c:v>
                </c:pt>
                <c:pt idx="50">
                  <c:v>1.6381121815313349</c:v>
                </c:pt>
                <c:pt idx="51">
                  <c:v>1.423722440608443</c:v>
                </c:pt>
                <c:pt idx="52">
                  <c:v>1.0739074313110826</c:v>
                </c:pt>
                <c:pt idx="53">
                  <c:v>0.8308470863703313</c:v>
                </c:pt>
                <c:pt idx="54">
                  <c:v>0.7255604387487535</c:v>
                </c:pt>
                <c:pt idx="55">
                  <c:v>0.8386517018779344</c:v>
                </c:pt>
                <c:pt idx="56">
                  <c:v>1.0737504113495921</c:v>
                </c:pt>
                <c:pt idx="57">
                  <c:v>1.197545699512053</c:v>
                </c:pt>
                <c:pt idx="58">
                  <c:v>1.3027526258601956</c:v>
                </c:pt>
                <c:pt idx="59">
                  <c:v>1.2671671854971616</c:v>
                </c:pt>
                <c:pt idx="60">
                  <c:v>1.2930282025892104</c:v>
                </c:pt>
                <c:pt idx="61">
                  <c:v>1.2970545844266232</c:v>
                </c:pt>
                <c:pt idx="62">
                  <c:v>1.3372460994995585</c:v>
                </c:pt>
                <c:pt idx="63">
                  <c:v>1.4362992183505003</c:v>
                </c:pt>
                <c:pt idx="64">
                  <c:v>1.4936562443520693</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320660799307457</c:v>
                </c:pt>
                <c:pt idx="1">
                  <c:v>1.6172060878431964</c:v>
                </c:pt>
                <c:pt idx="2">
                  <c:v>1.5970203620733616</c:v>
                </c:pt>
                <c:pt idx="3">
                  <c:v>1.596892737592781</c:v>
                </c:pt>
                <c:pt idx="4">
                  <c:v>1.5718198750958692</c:v>
                </c:pt>
                <c:pt idx="5">
                  <c:v>1.576403383499945</c:v>
                </c:pt>
                <c:pt idx="6">
                  <c:v>1.5915972473741398</c:v>
                </c:pt>
                <c:pt idx="7">
                  <c:v>1.5145156029139937</c:v>
                </c:pt>
                <c:pt idx="8">
                  <c:v>1.5284398995596638</c:v>
                </c:pt>
                <c:pt idx="9">
                  <c:v>1.5169414419332532</c:v>
                </c:pt>
                <c:pt idx="10">
                  <c:v>1.5194632361095708</c:v>
                </c:pt>
                <c:pt idx="11">
                  <c:v>1.5056459468234784</c:v>
                </c:pt>
                <c:pt idx="12">
                  <c:v>1.500989030749865</c:v>
                </c:pt>
                <c:pt idx="13">
                  <c:v>1.5260982097922209</c:v>
                </c:pt>
                <c:pt idx="14">
                  <c:v>1.4474789915966386</c:v>
                </c:pt>
                <c:pt idx="15">
                  <c:v>1.5140860370799538</c:v>
                </c:pt>
                <c:pt idx="16">
                  <c:v>1.4805962570723923</c:v>
                </c:pt>
                <c:pt idx="17">
                  <c:v>1.4502868763163628</c:v>
                </c:pt>
                <c:pt idx="18">
                  <c:v>1.438719976779624</c:v>
                </c:pt>
                <c:pt idx="19">
                  <c:v>1.4560020438702144</c:v>
                </c:pt>
                <c:pt idx="20">
                  <c:v>1.4665987483626837</c:v>
                </c:pt>
                <c:pt idx="21">
                  <c:v>1.4765795206971677</c:v>
                </c:pt>
                <c:pt idx="22">
                  <c:v>1.494605566324105</c:v>
                </c:pt>
                <c:pt idx="23">
                  <c:v>1.4159104215456675</c:v>
                </c:pt>
                <c:pt idx="24">
                  <c:v>1.4790881481210438</c:v>
                </c:pt>
                <c:pt idx="25">
                  <c:v>1.4597747532924905</c:v>
                </c:pt>
                <c:pt idx="26">
                  <c:v>1.4656193664692247</c:v>
                </c:pt>
                <c:pt idx="27">
                  <c:v>1.410485651214128</c:v>
                </c:pt>
                <c:pt idx="28">
                  <c:v>1.4605467881751502</c:v>
                </c:pt>
                <c:pt idx="29">
                  <c:v>1.4426247730556894</c:v>
                </c:pt>
                <c:pt idx="30">
                  <c:v>1.4308062130177515</c:v>
                </c:pt>
                <c:pt idx="31">
                  <c:v>1.4008962299088956</c:v>
                </c:pt>
                <c:pt idx="32">
                  <c:v>1.375060379742132</c:v>
                </c:pt>
                <c:pt idx="33">
                  <c:v>0.8864394220081513</c:v>
                </c:pt>
                <c:pt idx="34">
                  <c:v>1.1559241706161139</c:v>
                </c:pt>
                <c:pt idx="35">
                  <c:v>1.2868716626772234</c:v>
                </c:pt>
                <c:pt idx="36">
                  <c:v>1.2211566405114793</c:v>
                </c:pt>
                <c:pt idx="37">
                  <c:v>1.1132829219574834</c:v>
                </c:pt>
                <c:pt idx="38">
                  <c:v>1.225549593214471</c:v>
                </c:pt>
                <c:pt idx="39">
                  <c:v>1.4521365654800902</c:v>
                </c:pt>
                <c:pt idx="40">
                  <c:v>1.2467718268525312</c:v>
                </c:pt>
                <c:pt idx="41">
                  <c:v>1.3129233976029182</c:v>
                </c:pt>
                <c:pt idx="42">
                  <c:v>1.4572532543046852</c:v>
                </c:pt>
                <c:pt idx="43">
                  <c:v>1.4915420261462533</c:v>
                </c:pt>
                <c:pt idx="44">
                  <c:v>1.4577699539308588</c:v>
                </c:pt>
                <c:pt idx="45">
                  <c:v>1.3372703901039533</c:v>
                </c:pt>
                <c:pt idx="46">
                  <c:v>1.3174454361359036</c:v>
                </c:pt>
                <c:pt idx="47">
                  <c:v>1.3401102817059904</c:v>
                </c:pt>
                <c:pt idx="48">
                  <c:v>1.399546056364668</c:v>
                </c:pt>
                <c:pt idx="49">
                  <c:v>1.4067732547151983</c:v>
                </c:pt>
                <c:pt idx="50">
                  <c:v>1.4855684347892837</c:v>
                </c:pt>
                <c:pt idx="51">
                  <c:v>1.4619863143170393</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4.269753381201079</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4.269753381201079</c:v>
                </c:pt>
                <c:pt idx="1">
                  <c:v>-4.269753381201079</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779266863791383</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779266863791383</c:v>
                </c:pt>
                <c:pt idx="1">
                  <c:v>1.2779266863791383</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779266863791385</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779266863791385</c:v>
                </c:pt>
                <c:pt idx="1">
                  <c:v>1.2779266863791385</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320660799307457</c:v>
                </c:pt>
                <c:pt idx="1">
                  <c:v>1.6172060878431964</c:v>
                </c:pt>
                <c:pt idx="2">
                  <c:v>1.5970203620733616</c:v>
                </c:pt>
                <c:pt idx="3">
                  <c:v>1.596892737592781</c:v>
                </c:pt>
                <c:pt idx="4">
                  <c:v>1.5718198750958692</c:v>
                </c:pt>
                <c:pt idx="5">
                  <c:v>1.576403383499945</c:v>
                </c:pt>
                <c:pt idx="6">
                  <c:v>1.5915972473741398</c:v>
                </c:pt>
                <c:pt idx="7">
                  <c:v>1.5145156029139937</c:v>
                </c:pt>
                <c:pt idx="8">
                  <c:v>1.5284398995596638</c:v>
                </c:pt>
                <c:pt idx="9">
                  <c:v>1.5169414419332532</c:v>
                </c:pt>
                <c:pt idx="10">
                  <c:v>1.5194632361095708</c:v>
                </c:pt>
                <c:pt idx="11">
                  <c:v>1.5056459468234784</c:v>
                </c:pt>
                <c:pt idx="12">
                  <c:v>1.500989030749865</c:v>
                </c:pt>
                <c:pt idx="13">
                  <c:v>1.5260982097922209</c:v>
                </c:pt>
                <c:pt idx="14">
                  <c:v>1.4474789915966386</c:v>
                </c:pt>
                <c:pt idx="15">
                  <c:v>1.5140860370799538</c:v>
                </c:pt>
                <c:pt idx="16">
                  <c:v>1.4805962570723923</c:v>
                </c:pt>
                <c:pt idx="17">
                  <c:v>1.4502868763163628</c:v>
                </c:pt>
                <c:pt idx="18">
                  <c:v>1.438719976779624</c:v>
                </c:pt>
                <c:pt idx="19">
                  <c:v>1.4560020438702144</c:v>
                </c:pt>
                <c:pt idx="20">
                  <c:v>1.4665987483626837</c:v>
                </c:pt>
                <c:pt idx="21">
                  <c:v>1.4765795206971677</c:v>
                </c:pt>
                <c:pt idx="22">
                  <c:v>1.494605566324105</c:v>
                </c:pt>
                <c:pt idx="23">
                  <c:v>1.4159104215456675</c:v>
                </c:pt>
                <c:pt idx="24">
                  <c:v>1.4790881481210438</c:v>
                </c:pt>
                <c:pt idx="25">
                  <c:v>1.4597747532924905</c:v>
                </c:pt>
                <c:pt idx="26">
                  <c:v>1.4656193664692247</c:v>
                </c:pt>
                <c:pt idx="27">
                  <c:v>1.410485651214128</c:v>
                </c:pt>
                <c:pt idx="28">
                  <c:v>1.4605467881751502</c:v>
                </c:pt>
                <c:pt idx="29">
                  <c:v>1.4426247730556894</c:v>
                </c:pt>
                <c:pt idx="30">
                  <c:v>1.4308062130177515</c:v>
                </c:pt>
                <c:pt idx="31">
                  <c:v>1.4008962299088956</c:v>
                </c:pt>
                <c:pt idx="32">
                  <c:v>1.375060379742132</c:v>
                </c:pt>
                <c:pt idx="33">
                  <c:v>0.8864394220081513</c:v>
                </c:pt>
                <c:pt idx="34">
                  <c:v>1.1559241706161139</c:v>
                </c:pt>
                <c:pt idx="35">
                  <c:v>1.2868716626772234</c:v>
                </c:pt>
                <c:pt idx="36">
                  <c:v>1.2211566405114793</c:v>
                </c:pt>
                <c:pt idx="37">
                  <c:v>1.1132829219574834</c:v>
                </c:pt>
                <c:pt idx="38">
                  <c:v>1.225549593214471</c:v>
                </c:pt>
                <c:pt idx="39">
                  <c:v>1.4521365654800902</c:v>
                </c:pt>
                <c:pt idx="40">
                  <c:v>1.2467718268525312</c:v>
                </c:pt>
                <c:pt idx="41">
                  <c:v>1.3129233976029182</c:v>
                </c:pt>
                <c:pt idx="42">
                  <c:v>1.4572532543046852</c:v>
                </c:pt>
                <c:pt idx="43">
                  <c:v>1.4915420261462533</c:v>
                </c:pt>
                <c:pt idx="44">
                  <c:v>1.4577699539308588</c:v>
                </c:pt>
                <c:pt idx="45">
                  <c:v>1.3372703901039533</c:v>
                </c:pt>
                <c:pt idx="46">
                  <c:v>1.3174454361359036</c:v>
                </c:pt>
                <c:pt idx="47">
                  <c:v>1.3401102817059904</c:v>
                </c:pt>
                <c:pt idx="48">
                  <c:v>1.399546056364668</c:v>
                </c:pt>
                <c:pt idx="49">
                  <c:v>1.4067732547151983</c:v>
                </c:pt>
                <c:pt idx="50">
                  <c:v>1.4855684347892837</c:v>
                </c:pt>
                <c:pt idx="51">
                  <c:v>1.4619863143170393</c:v>
                </c:pt>
                <c:pt idx="52">
                  <c:v>1.2779266863791383</c:v>
                </c:pt>
                <c:pt idx="53">
                  <c:v>-4.269753381201079</c:v>
                </c:pt>
                <c:pt idx="54">
                  <c:v>1.2779266863791385</c:v>
                </c:pt>
              </c:numCache>
            </c:numRef>
          </c:xVal>
          <c:yVal>
            <c:numRef>
              <c:f>Sheet1!$B$147:$B$201</c:f>
              <c:numCache>
                <c:formatCode>General</c:formatCode>
                <c:ptCount val="55"/>
                <c:pt idx="0">
                  <c:v>0.00048168020116911864</c:v>
                </c:pt>
                <c:pt idx="1">
                  <c:v>0.00040187947865288594</c:v>
                </c:pt>
                <c:pt idx="2">
                  <c:v>0.0004207993206924094</c:v>
                </c:pt>
                <c:pt idx="3">
                  <c:v>0.0004209189416087191</c:v>
                </c:pt>
                <c:pt idx="4">
                  <c:v>0.00044441943910527985</c:v>
                </c:pt>
                <c:pt idx="5">
                  <c:v>0.00044012337088456064</c:v>
                </c:pt>
                <c:pt idx="6">
                  <c:v>0.0004258823419640461</c:v>
                </c:pt>
                <c:pt idx="7">
                  <c:v>0.0004981300557178935</c:v>
                </c:pt>
                <c:pt idx="8">
                  <c:v>0.0004850789771462607</c:v>
                </c:pt>
                <c:pt idx="9">
                  <c:v>0.0004958563454940932</c:v>
                </c:pt>
                <c:pt idx="10">
                  <c:v>0.0004934926976363867</c:v>
                </c:pt>
                <c:pt idx="11">
                  <c:v>0.0005064434794753996</c:v>
                </c:pt>
                <c:pt idx="12">
                  <c:v>0.0005108083518366277</c:v>
                </c:pt>
                <c:pt idx="13">
                  <c:v>0.0004872738152715162</c:v>
                </c:pt>
                <c:pt idx="14">
                  <c:v>0.0005609626787036201</c:v>
                </c:pt>
                <c:pt idx="15">
                  <c:v>0.0004985326826939199</c:v>
                </c:pt>
                <c:pt idx="16">
                  <c:v>0.0005299222574313481</c:v>
                </c:pt>
                <c:pt idx="17">
                  <c:v>0.0005583308815630009</c:v>
                </c:pt>
                <c:pt idx="18">
                  <c:v>0.0005691723997039624</c:v>
                </c:pt>
                <c:pt idx="19">
                  <c:v>0.0005529741226046546</c:v>
                </c:pt>
                <c:pt idx="20">
                  <c:v>0.0005430419568047688</c:v>
                </c:pt>
                <c:pt idx="21">
                  <c:v>0.0005336870969323002</c:v>
                </c:pt>
                <c:pt idx="22">
                  <c:v>0.0005167914975494651</c:v>
                </c:pt>
                <c:pt idx="23">
                  <c:v>0.0005905515260697406</c:v>
                </c:pt>
                <c:pt idx="24">
                  <c:v>0.0005313357901159418</c:v>
                </c:pt>
                <c:pt idx="25">
                  <c:v>0.0005494380066807401</c:v>
                </c:pt>
                <c:pt idx="26">
                  <c:v>0.0005439599198709421</c:v>
                </c:pt>
                <c:pt idx="27">
                  <c:v>0.0005956360991459686</c:v>
                </c:pt>
                <c:pt idx="28">
                  <c:v>0.0005487143875156195</c:v>
                </c:pt>
                <c:pt idx="29">
                  <c:v>0.0005655124803341034</c:v>
                </c:pt>
                <c:pt idx="30">
                  <c:v>0.0005765898768866002</c:v>
                </c:pt>
                <c:pt idx="31">
                  <c:v>0.000604624150326995</c:v>
                </c:pt>
                <c:pt idx="32">
                  <c:v>0.0006288397871431078</c:v>
                </c:pt>
                <c:pt idx="33">
                  <c:v>0.0010868184321984498</c:v>
                </c:pt>
                <c:pt idx="34">
                  <c:v>0.000834233564363643</c:v>
                </c:pt>
                <c:pt idx="35">
                  <c:v>0.000711498028692674</c:v>
                </c:pt>
                <c:pt idx="36">
                  <c:v>0.0007730919417962424</c:v>
                </c:pt>
                <c:pt idx="37">
                  <c:v>0.0008742007024387553</c:v>
                </c:pt>
                <c:pt idx="38">
                  <c:v>0.0007689744791805604</c:v>
                </c:pt>
                <c:pt idx="39">
                  <c:v>0.00055659718978501</c:v>
                </c:pt>
                <c:pt idx="40">
                  <c:v>0.0007490831305743098</c:v>
                </c:pt>
                <c:pt idx="41">
                  <c:v>0.0006870800456451553</c:v>
                </c:pt>
                <c:pt idx="42">
                  <c:v>0.0005518013778617449</c:v>
                </c:pt>
                <c:pt idx="43">
                  <c:v>0.0005196629175275025</c:v>
                </c:pt>
                <c:pt idx="44">
                  <c:v>0.0005513170814128309</c:v>
                </c:pt>
                <c:pt idx="45">
                  <c:v>0.0006642598975112981</c:v>
                </c:pt>
                <c:pt idx="46">
                  <c:v>0.0006828415924076414</c:v>
                </c:pt>
                <c:pt idx="47">
                  <c:v>0.0006615981006984134</c:v>
                </c:pt>
                <c:pt idx="48">
                  <c:v>0.0006058896520223021</c:v>
                </c:pt>
                <c:pt idx="49">
                  <c:v>0.0005991156844801155</c:v>
                </c:pt>
                <c:pt idx="50">
                  <c:v>0.0005252618940602869</c:v>
                </c:pt>
                <c:pt idx="51">
                  <c:v>0.0005473651366872442</c:v>
                </c:pt>
                <c:pt idx="52">
                  <c:v>0.0007198820491899679</c:v>
                </c:pt>
                <c:pt idx="53">
                  <c:v>0.0059196569674286525</c:v>
                </c:pt>
                <c:pt idx="54">
                  <c:v>0.000719882049189967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052</c:v>
                </c:pt>
                <c:pt idx="1">
                  <c:v>1.9369</c:v>
                </c:pt>
                <c:pt idx="2">
                  <c:v>1.9413</c:v>
                </c:pt>
                <c:pt idx="3">
                  <c:v>1.9504</c:v>
                </c:pt>
                <c:pt idx="4">
                  <c:v>1.9582</c:v>
                </c:pt>
                <c:pt idx="5">
                  <c:v>1.9384</c:v>
                </c:pt>
                <c:pt idx="6">
                  <c:v>1.9126</c:v>
                </c:pt>
                <c:pt idx="7">
                  <c:v>1.851</c:v>
                </c:pt>
                <c:pt idx="8">
                  <c:v>1.8447</c:v>
                </c:pt>
                <c:pt idx="9">
                  <c:v>1.8633</c:v>
                </c:pt>
                <c:pt idx="10">
                  <c:v>1.8234</c:v>
                </c:pt>
                <c:pt idx="11">
                  <c:v>1.7924</c:v>
                </c:pt>
                <c:pt idx="12">
                  <c:v>1.7548</c:v>
                </c:pt>
                <c:pt idx="13">
                  <c:v>1.7205</c:v>
                </c:pt>
                <c:pt idx="14">
                  <c:v>1.4793</c:v>
                </c:pt>
                <c:pt idx="15">
                  <c:v>1.9103</c:v>
                </c:pt>
                <c:pt idx="16">
                  <c:v>2.2638</c:v>
                </c:pt>
                <c:pt idx="17">
                  <c:v>2.341</c:v>
                </c:pt>
                <c:pt idx="18">
                  <c:v>2.3954</c:v>
                </c:pt>
                <c:pt idx="19">
                  <c:v>2.4277</c:v>
                </c:pt>
                <c:pt idx="20">
                  <c:v>2.4406</c:v>
                </c:pt>
                <c:pt idx="21">
                  <c:v>2.4509</c:v>
                </c:pt>
                <c:pt idx="22">
                  <c:v>2.446</c:v>
                </c:pt>
                <c:pt idx="23">
                  <c:v>2.4677</c:v>
                </c:pt>
                <c:pt idx="24">
                  <c:v>2.4758</c:v>
                </c:pt>
                <c:pt idx="25">
                  <c:v>2.4732</c:v>
                </c:pt>
                <c:pt idx="26">
                  <c:v>2.5121</c:v>
                </c:pt>
                <c:pt idx="27">
                  <c:v>2.5419</c:v>
                </c:pt>
                <c:pt idx="28">
                  <c:v>2.5333</c:v>
                </c:pt>
                <c:pt idx="29">
                  <c:v>2.5152</c:v>
                </c:pt>
                <c:pt idx="30">
                  <c:v>2.5221</c:v>
                </c:pt>
                <c:pt idx="31">
                  <c:v>2.5158</c:v>
                </c:pt>
                <c:pt idx="32">
                  <c:v>2.5249</c:v>
                </c:pt>
                <c:pt idx="33">
                  <c:v>2.5224</c:v>
                </c:pt>
                <c:pt idx="34">
                  <c:v>2.4998</c:v>
                </c:pt>
                <c:pt idx="35">
                  <c:v>2.5106</c:v>
                </c:pt>
                <c:pt idx="36">
                  <c:v>2.506</c:v>
                </c:pt>
                <c:pt idx="37">
                  <c:v>2.5013</c:v>
                </c:pt>
                <c:pt idx="38">
                  <c:v>2.4917</c:v>
                </c:pt>
                <c:pt idx="39">
                  <c:v>2.4892</c:v>
                </c:pt>
                <c:pt idx="40">
                  <c:v>2.4831</c:v>
                </c:pt>
                <c:pt idx="41">
                  <c:v>2.4759</c:v>
                </c:pt>
                <c:pt idx="42">
                  <c:v>2.4822</c:v>
                </c:pt>
                <c:pt idx="43">
                  <c:v>2.4761</c:v>
                </c:pt>
                <c:pt idx="44">
                  <c:v>2.474</c:v>
                </c:pt>
                <c:pt idx="45">
                  <c:v>2.4737</c:v>
                </c:pt>
                <c:pt idx="46">
                  <c:v>2.4703</c:v>
                </c:pt>
                <c:pt idx="47">
                  <c:v>2.4557</c:v>
                </c:pt>
                <c:pt idx="48">
                  <c:v>2.4675</c:v>
                </c:pt>
                <c:pt idx="49">
                  <c:v>2.4608</c:v>
                </c:pt>
                <c:pt idx="50">
                  <c:v>2.4727</c:v>
                </c:pt>
                <c:pt idx="51">
                  <c:v>2.4941</c:v>
                </c:pt>
                <c:pt idx="52">
                  <c:v>2.4683</c:v>
                </c:pt>
                <c:pt idx="53">
                  <c:v>2.4595</c:v>
                </c:pt>
                <c:pt idx="54">
                  <c:v>2.4432</c:v>
                </c:pt>
                <c:pt idx="55">
                  <c:v>2.4592</c:v>
                </c:pt>
                <c:pt idx="56">
                  <c:v>2.4664</c:v>
                </c:pt>
                <c:pt idx="57">
                  <c:v>2.4534</c:v>
                </c:pt>
                <c:pt idx="58">
                  <c:v>2.4624</c:v>
                </c:pt>
                <c:pt idx="59">
                  <c:v>2.4606</c:v>
                </c:pt>
                <c:pt idx="60">
                  <c:v>2.4536</c:v>
                </c:pt>
                <c:pt idx="61">
                  <c:v>2.4549</c:v>
                </c:pt>
                <c:pt idx="62">
                  <c:v>2.4459</c:v>
                </c:pt>
                <c:pt idx="63">
                  <c:v>2.4544</c:v>
                </c:pt>
                <c:pt idx="64">
                  <c:v>2.46</c:v>
                </c:pt>
              </c:numCache>
            </c:numRef>
          </c:xVal>
          <c:yVal>
            <c:numRef>
              <c:f>Sheet1!$B$2:$B$66</c:f>
              <c:numCache>
                <c:formatCode>General</c:formatCode>
                <c:ptCount val="65"/>
                <c:pt idx="0">
                  <c:v>0.029690547533424656</c:v>
                </c:pt>
                <c:pt idx="1">
                  <c:v>0.030504353220229798</c:v>
                </c:pt>
                <c:pt idx="2">
                  <c:v>0.03191086416800347</c:v>
                </c:pt>
                <c:pt idx="3">
                  <c:v>0.03332633837312879</c:v>
                </c:pt>
                <c:pt idx="4">
                  <c:v>0.033685352845753976</c:v>
                </c:pt>
                <c:pt idx="5">
                  <c:v>0.03204163399524042</c:v>
                </c:pt>
                <c:pt idx="6">
                  <c:v>0.03032108207337031</c:v>
                </c:pt>
                <c:pt idx="7">
                  <c:v>0.027693388349309886</c:v>
                </c:pt>
                <c:pt idx="8">
                  <c:v>0.026229182080884508</c:v>
                </c:pt>
                <c:pt idx="9">
                  <c:v>0.02552692133593828</c:v>
                </c:pt>
                <c:pt idx="10">
                  <c:v>0.02046462541351441</c:v>
                </c:pt>
                <c:pt idx="11">
                  <c:v>0.017280513326388185</c:v>
                </c:pt>
                <c:pt idx="12">
                  <c:v>0.014485829403525519</c:v>
                </c:pt>
                <c:pt idx="13">
                  <c:v>0.011764342132915467</c:v>
                </c:pt>
                <c:pt idx="14">
                  <c:v>0.018721095373376427</c:v>
                </c:pt>
                <c:pt idx="15">
                  <c:v>0.03164702359992543</c:v>
                </c:pt>
                <c:pt idx="16">
                  <c:v>0.03788280524990057</c:v>
                </c:pt>
                <c:pt idx="17">
                  <c:v>0.03809631382767742</c:v>
                </c:pt>
                <c:pt idx="18">
                  <c:v>0.03835558718328059</c:v>
                </c:pt>
                <c:pt idx="19">
                  <c:v>0.0382235471855558</c:v>
                </c:pt>
                <c:pt idx="20">
                  <c:v>0.038902417042350874</c:v>
                </c:pt>
                <c:pt idx="21">
                  <c:v>0.03948115753029376</c:v>
                </c:pt>
                <c:pt idx="22">
                  <c:v>0.03924936838718465</c:v>
                </c:pt>
                <c:pt idx="23">
                  <c:v>0.03817925274504843</c:v>
                </c:pt>
                <c:pt idx="24">
                  <c:v>0.03770302320278363</c:v>
                </c:pt>
                <c:pt idx="25">
                  <c:v>0.03845814433717503</c:v>
                </c:pt>
                <c:pt idx="26">
                  <c:v>0.03804121327405534</c:v>
                </c:pt>
                <c:pt idx="27">
                  <c:v>0.038149936298096966</c:v>
                </c:pt>
                <c:pt idx="28">
                  <c:v>0.0376837803135794</c:v>
                </c:pt>
                <c:pt idx="29">
                  <c:v>0.03780231340305089</c:v>
                </c:pt>
                <c:pt idx="30">
                  <c:v>0.03821839019223843</c:v>
                </c:pt>
                <c:pt idx="31">
                  <c:v>0.03671178635405633</c:v>
                </c:pt>
                <c:pt idx="32">
                  <c:v>0.03606331012223414</c:v>
                </c:pt>
                <c:pt idx="33">
                  <c:v>0.036806321287471265</c:v>
                </c:pt>
                <c:pt idx="34">
                  <c:v>0.0375560995967301</c:v>
                </c:pt>
                <c:pt idx="35">
                  <c:v>0.03785467299088445</c:v>
                </c:pt>
                <c:pt idx="36">
                  <c:v>0.03700783237091493</c:v>
                </c:pt>
                <c:pt idx="37">
                  <c:v>0.03748714705118175</c:v>
                </c:pt>
                <c:pt idx="38">
                  <c:v>0.03721323888014908</c:v>
                </c:pt>
                <c:pt idx="39">
                  <c:v>0.03636835780634545</c:v>
                </c:pt>
                <c:pt idx="40">
                  <c:v>0.03468396283689571</c:v>
                </c:pt>
                <c:pt idx="41">
                  <c:v>0.03403756643594305</c:v>
                </c:pt>
                <c:pt idx="42">
                  <c:v>0.03463506320010053</c:v>
                </c:pt>
                <c:pt idx="43">
                  <c:v>0.034838221641508786</c:v>
                </c:pt>
                <c:pt idx="44">
                  <c:v>0.03451819857396406</c:v>
                </c:pt>
                <c:pt idx="45">
                  <c:v>0.03354901495493474</c:v>
                </c:pt>
                <c:pt idx="46">
                  <c:v>0.03244447405421811</c:v>
                </c:pt>
                <c:pt idx="47">
                  <c:v>0.03321285452900701</c:v>
                </c:pt>
                <c:pt idx="48">
                  <c:v>0.03242143120365882</c:v>
                </c:pt>
                <c:pt idx="49">
                  <c:v>0.029709703847729384</c:v>
                </c:pt>
                <c:pt idx="50">
                  <c:v>0.027319338165626726</c:v>
                </c:pt>
                <c:pt idx="51">
                  <c:v>0.021979227475209705</c:v>
                </c:pt>
                <c:pt idx="52">
                  <c:v>0.03834719377408351</c:v>
                </c:pt>
                <c:pt idx="53">
                  <c:v>0.03785284514486143</c:v>
                </c:pt>
                <c:pt idx="54">
                  <c:v>0.03620702626566401</c:v>
                </c:pt>
                <c:pt idx="55">
                  <c:v>0.036703808697891235</c:v>
                </c:pt>
                <c:pt idx="56">
                  <c:v>0.03713482985006164</c:v>
                </c:pt>
                <c:pt idx="57">
                  <c:v>0.03701095099667382</c:v>
                </c:pt>
                <c:pt idx="58">
                  <c:v>0.03661180146470757</c:v>
                </c:pt>
                <c:pt idx="59">
                  <c:v>0.03599024030600327</c:v>
                </c:pt>
                <c:pt idx="60">
                  <c:v>0.03710788098736912</c:v>
                </c:pt>
                <c:pt idx="61">
                  <c:v>0.037804706104593994</c:v>
                </c:pt>
                <c:pt idx="62">
                  <c:v>0.03762744915741118</c:v>
                </c:pt>
                <c:pt idx="63">
                  <c:v>0.03609165060362217</c:v>
                </c:pt>
                <c:pt idx="64">
                  <c:v>0.03650903608512446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2.4507</c:v>
                </c:pt>
                <c:pt idx="1">
                  <c:v>2.4448</c:v>
                </c:pt>
                <c:pt idx="2">
                  <c:v>2.4493</c:v>
                </c:pt>
                <c:pt idx="3">
                  <c:v>2.4563</c:v>
                </c:pt>
                <c:pt idx="4">
                  <c:v>2.4603</c:v>
                </c:pt>
                <c:pt idx="5">
                  <c:v>2.4506</c:v>
                </c:pt>
                <c:pt idx="6">
                  <c:v>2.455</c:v>
                </c:pt>
                <c:pt idx="7">
                  <c:v>2.4494</c:v>
                </c:pt>
                <c:pt idx="8">
                  <c:v>2.4671</c:v>
                </c:pt>
                <c:pt idx="9">
                  <c:v>2.4571</c:v>
                </c:pt>
                <c:pt idx="10">
                  <c:v>2.4561</c:v>
                </c:pt>
                <c:pt idx="11">
                  <c:v>2.4402</c:v>
                </c:pt>
                <c:pt idx="12">
                  <c:v>2.3738</c:v>
                </c:pt>
                <c:pt idx="13">
                  <c:v>2.3148</c:v>
                </c:pt>
                <c:pt idx="14">
                  <c:v>2.2568</c:v>
                </c:pt>
                <c:pt idx="15">
                  <c:v>2.2362</c:v>
                </c:pt>
                <c:pt idx="16">
                  <c:v>2.3257</c:v>
                </c:pt>
                <c:pt idx="17">
                  <c:v>2.4068</c:v>
                </c:pt>
                <c:pt idx="18">
                  <c:v>2.4225</c:v>
                </c:pt>
                <c:pt idx="19">
                  <c:v>2.4387</c:v>
                </c:pt>
                <c:pt idx="20">
                  <c:v>2.442</c:v>
                </c:pt>
                <c:pt idx="21">
                  <c:v>2.4467</c:v>
                </c:pt>
                <c:pt idx="22">
                  <c:v>2.4385</c:v>
                </c:pt>
                <c:pt idx="23">
                  <c:v>2.4438</c:v>
                </c:pt>
                <c:pt idx="24">
                  <c:v>2.4309</c:v>
                </c:pt>
                <c:pt idx="25">
                  <c:v>2.4312</c:v>
                </c:pt>
                <c:pt idx="26">
                  <c:v>2.4248</c:v>
                </c:pt>
                <c:pt idx="27">
                  <c:v>2.4247</c:v>
                </c:pt>
                <c:pt idx="28">
                  <c:v>2.4245</c:v>
                </c:pt>
                <c:pt idx="29">
                  <c:v>2.4133</c:v>
                </c:pt>
                <c:pt idx="30">
                  <c:v>2.4074</c:v>
                </c:pt>
                <c:pt idx="31">
                  <c:v>2.4194</c:v>
                </c:pt>
                <c:pt idx="32">
                  <c:v>2.4145</c:v>
                </c:pt>
                <c:pt idx="33">
                  <c:v>2.4141</c:v>
                </c:pt>
                <c:pt idx="34">
                  <c:v>2.4223</c:v>
                </c:pt>
                <c:pt idx="35">
                  <c:v>2.4101</c:v>
                </c:pt>
                <c:pt idx="36">
                  <c:v>2.2631</c:v>
                </c:pt>
                <c:pt idx="37">
                  <c:v>2.1838</c:v>
                </c:pt>
                <c:pt idx="38">
                  <c:v>2.3257</c:v>
                </c:pt>
                <c:pt idx="39">
                  <c:v>2.1641</c:v>
                </c:pt>
                <c:pt idx="40">
                  <c:v>2.2174</c:v>
                </c:pt>
                <c:pt idx="41">
                  <c:v>2.325</c:v>
                </c:pt>
                <c:pt idx="42">
                  <c:v>2.192</c:v>
                </c:pt>
                <c:pt idx="43">
                  <c:v>2.1867</c:v>
                </c:pt>
                <c:pt idx="44">
                  <c:v>2.1805</c:v>
                </c:pt>
                <c:pt idx="45">
                  <c:v>2.1842</c:v>
                </c:pt>
                <c:pt idx="46">
                  <c:v>2.1932</c:v>
                </c:pt>
                <c:pt idx="47">
                  <c:v>2.2261</c:v>
                </c:pt>
                <c:pt idx="48">
                  <c:v>2.2394</c:v>
                </c:pt>
                <c:pt idx="49">
                  <c:v>2.2578</c:v>
                </c:pt>
                <c:pt idx="50">
                  <c:v>2.2421</c:v>
                </c:pt>
                <c:pt idx="51">
                  <c:v>1.977</c:v>
                </c:pt>
              </c:numCache>
            </c:numRef>
          </c:xVal>
          <c:yVal>
            <c:numRef>
              <c:f>Sheet1!$B$69:$B$120</c:f>
              <c:numCache>
                <c:formatCode>General</c:formatCode>
                <c:ptCount val="52"/>
                <c:pt idx="0">
                  <c:v>0.037340950619097556</c:v>
                </c:pt>
                <c:pt idx="1">
                  <c:v>0.037890416996516595</c:v>
                </c:pt>
                <c:pt idx="2">
                  <c:v>0.03779803805375537</c:v>
                </c:pt>
                <c:pt idx="3">
                  <c:v>0.03742296918767507</c:v>
                </c:pt>
                <c:pt idx="4">
                  <c:v>0.03798156020437342</c:v>
                </c:pt>
                <c:pt idx="5">
                  <c:v>0.037663676107433486</c:v>
                </c:pt>
                <c:pt idx="6">
                  <c:v>0.03579392973681803</c:v>
                </c:pt>
                <c:pt idx="7">
                  <c:v>0.03677705477706304</c:v>
                </c:pt>
                <c:pt idx="8">
                  <c:v>0.0365768695930282</c:v>
                </c:pt>
                <c:pt idx="9">
                  <c:v>0.037904711996922406</c:v>
                </c:pt>
                <c:pt idx="10">
                  <c:v>0.03700330913475105</c:v>
                </c:pt>
                <c:pt idx="11">
                  <c:v>0.036769219993160365</c:v>
                </c:pt>
                <c:pt idx="12">
                  <c:v>0.03626243508582191</c:v>
                </c:pt>
                <c:pt idx="13">
                  <c:v>0.03497680413576329</c:v>
                </c:pt>
                <c:pt idx="14">
                  <c:v>0.03400846998867864</c:v>
                </c:pt>
                <c:pt idx="15">
                  <c:v>0.03395552098616159</c:v>
                </c:pt>
                <c:pt idx="16">
                  <c:v>0.03537015693875871</c:v>
                </c:pt>
                <c:pt idx="17">
                  <c:v>0.03720849676441061</c:v>
                </c:pt>
                <c:pt idx="18">
                  <c:v>0.036089212973935615</c:v>
                </c:pt>
                <c:pt idx="19">
                  <c:v>0.03591294018974349</c:v>
                </c:pt>
                <c:pt idx="20">
                  <c:v>0.035760615048564974</c:v>
                </c:pt>
                <c:pt idx="21">
                  <c:v>0.03702311297985028</c:v>
                </c:pt>
                <c:pt idx="22">
                  <c:v>0.03675608817693677</c:v>
                </c:pt>
                <c:pt idx="23">
                  <c:v>0.0366436207846421</c:v>
                </c:pt>
                <c:pt idx="24">
                  <c:v>0.036771211527475485</c:v>
                </c:pt>
                <c:pt idx="25">
                  <c:v>0.03679805566839081</c:v>
                </c:pt>
                <c:pt idx="26">
                  <c:v>0.03669919426098679</c:v>
                </c:pt>
                <c:pt idx="27">
                  <c:v>0.03538009003050321</c:v>
                </c:pt>
                <c:pt idx="28">
                  <c:v>0.03519838394444854</c:v>
                </c:pt>
                <c:pt idx="29">
                  <c:v>0.0345489145563988</c:v>
                </c:pt>
                <c:pt idx="30">
                  <c:v>0.03506388914406295</c:v>
                </c:pt>
                <c:pt idx="31">
                  <c:v>0.03473630831643002</c:v>
                </c:pt>
                <c:pt idx="32">
                  <c:v>0.03346360186679461</c:v>
                </c:pt>
                <c:pt idx="33">
                  <c:v>0.03249152472880211</c:v>
                </c:pt>
                <c:pt idx="34">
                  <c:v>0.0300490414238373</c:v>
                </c:pt>
                <c:pt idx="35">
                  <c:v>0.03159880627345426</c:v>
                </c:pt>
                <c:pt idx="36">
                  <c:v>0.03140164449827593</c:v>
                </c:pt>
                <c:pt idx="37">
                  <c:v>0.02842976076684027</c:v>
                </c:pt>
                <c:pt idx="38">
                  <c:v>0.01934514215608266</c:v>
                </c:pt>
                <c:pt idx="39">
                  <c:v>0.03524003784250487</c:v>
                </c:pt>
                <c:pt idx="40">
                  <c:v>0.03268791072385978</c:v>
                </c:pt>
                <c:pt idx="41">
                  <c:v>0.033305248975938735</c:v>
                </c:pt>
                <c:pt idx="42">
                  <c:v>0.042363294223503524</c:v>
                </c:pt>
                <c:pt idx="43">
                  <c:v>0.044509722784612224</c:v>
                </c:pt>
                <c:pt idx="44">
                  <c:v>0.04437700535655545</c:v>
                </c:pt>
                <c:pt idx="45">
                  <c:v>0.04458848799476242</c:v>
                </c:pt>
                <c:pt idx="46">
                  <c:v>0.045434489444606714</c:v>
                </c:pt>
                <c:pt idx="47">
                  <c:v>0.04450835839790746</c:v>
                </c:pt>
                <c:pt idx="48">
                  <c:v>0.04415997600665371</c:v>
                </c:pt>
                <c:pt idx="49">
                  <c:v>0.041861655367044476</c:v>
                </c:pt>
                <c:pt idx="50">
                  <c:v>0.04130395024709216</c:v>
                </c:pt>
                <c:pt idx="51">
                  <c:v>0.049403883313917915</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051406302600105</c:v>
                </c:pt>
              </c:numCache>
            </c:numRef>
          </c:xVal>
          <c:yVal>
            <c:numRef>
              <c:f>Sheet1!$B$123:$B$124</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051406302600105</c:v>
                </c:pt>
                <c:pt idx="1">
                  <c:v>2.051406302600105</c:v>
                </c:pt>
              </c:numCache>
            </c:numRef>
          </c:xVal>
          <c:yVal>
            <c:numRef>
              <c:f>Sheet1!$B$127:$B$128</c:f>
              <c:numCache>
                <c:formatCode>General</c:formatCode>
                <c:ptCount val="2"/>
                <c:pt idx="0">
                  <c:v>0.04182646312915072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051406302600105</c:v>
                </c:pt>
              </c:numCache>
            </c:numRef>
          </c:xVal>
          <c:yVal>
            <c:numRef>
              <c:f>Sheet1!$B$131:$B$132</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051406302600105</c:v>
                </c:pt>
                <c:pt idx="1">
                  <c:v>2.051406302600105</c:v>
                </c:pt>
              </c:numCache>
            </c:numRef>
          </c:xVal>
          <c:yVal>
            <c:numRef>
              <c:f>Sheet1!$B$135:$B$136</c:f>
              <c:numCache>
                <c:formatCode>General</c:formatCode>
                <c:ptCount val="2"/>
                <c:pt idx="0">
                  <c:v>0.04182646312915072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051406302600105</c:v>
                </c:pt>
              </c:numCache>
            </c:numRef>
          </c:xVal>
          <c:yVal>
            <c:numRef>
              <c:f>Sheet1!$B$139:$B$140</c:f>
              <c:numCache>
                <c:formatCode>General</c:formatCode>
                <c:ptCount val="2"/>
                <c:pt idx="0">
                  <c:v>0.041826463129150726</c:v>
                </c:pt>
                <c:pt idx="1">
                  <c:v>0.041826463129150726</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051406302600105</c:v>
                </c:pt>
                <c:pt idx="1">
                  <c:v>2.051406302600105</c:v>
                </c:pt>
              </c:numCache>
            </c:numRef>
          </c:xVal>
          <c:yVal>
            <c:numRef>
              <c:f>Sheet1!$B$143:$B$144</c:f>
              <c:numCache>
                <c:formatCode>General</c:formatCode>
                <c:ptCount val="2"/>
                <c:pt idx="0">
                  <c:v>0.04182646312915072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2.4507</c:v>
                </c:pt>
                <c:pt idx="1">
                  <c:v>2.4448</c:v>
                </c:pt>
                <c:pt idx="2">
                  <c:v>2.4493</c:v>
                </c:pt>
                <c:pt idx="3">
                  <c:v>2.4563</c:v>
                </c:pt>
                <c:pt idx="4">
                  <c:v>2.4603</c:v>
                </c:pt>
                <c:pt idx="5">
                  <c:v>2.4506</c:v>
                </c:pt>
                <c:pt idx="6">
                  <c:v>2.455</c:v>
                </c:pt>
                <c:pt idx="7">
                  <c:v>2.4494</c:v>
                </c:pt>
                <c:pt idx="8">
                  <c:v>2.4671</c:v>
                </c:pt>
                <c:pt idx="9">
                  <c:v>2.4571</c:v>
                </c:pt>
                <c:pt idx="10">
                  <c:v>2.4561</c:v>
                </c:pt>
                <c:pt idx="11">
                  <c:v>2.4402</c:v>
                </c:pt>
                <c:pt idx="12">
                  <c:v>2.3738</c:v>
                </c:pt>
                <c:pt idx="13">
                  <c:v>2.3148</c:v>
                </c:pt>
                <c:pt idx="14">
                  <c:v>2.2568</c:v>
                </c:pt>
                <c:pt idx="15">
                  <c:v>2.2362</c:v>
                </c:pt>
                <c:pt idx="16">
                  <c:v>2.3257</c:v>
                </c:pt>
                <c:pt idx="17">
                  <c:v>2.4068</c:v>
                </c:pt>
                <c:pt idx="18">
                  <c:v>2.4225</c:v>
                </c:pt>
                <c:pt idx="19">
                  <c:v>2.4387</c:v>
                </c:pt>
                <c:pt idx="20">
                  <c:v>2.442</c:v>
                </c:pt>
                <c:pt idx="21">
                  <c:v>2.4467</c:v>
                </c:pt>
                <c:pt idx="22">
                  <c:v>2.4385</c:v>
                </c:pt>
                <c:pt idx="23">
                  <c:v>2.4438</c:v>
                </c:pt>
                <c:pt idx="24">
                  <c:v>2.4309</c:v>
                </c:pt>
                <c:pt idx="25">
                  <c:v>2.4312</c:v>
                </c:pt>
                <c:pt idx="26">
                  <c:v>2.4248</c:v>
                </c:pt>
                <c:pt idx="27">
                  <c:v>2.4247</c:v>
                </c:pt>
                <c:pt idx="28">
                  <c:v>2.4245</c:v>
                </c:pt>
                <c:pt idx="29">
                  <c:v>2.4133</c:v>
                </c:pt>
                <c:pt idx="30">
                  <c:v>2.4074</c:v>
                </c:pt>
                <c:pt idx="31">
                  <c:v>2.4194</c:v>
                </c:pt>
                <c:pt idx="32">
                  <c:v>2.4145</c:v>
                </c:pt>
                <c:pt idx="33">
                  <c:v>2.4141</c:v>
                </c:pt>
                <c:pt idx="34">
                  <c:v>2.4223</c:v>
                </c:pt>
                <c:pt idx="35">
                  <c:v>2.4101</c:v>
                </c:pt>
                <c:pt idx="36">
                  <c:v>2.2631</c:v>
                </c:pt>
                <c:pt idx="37">
                  <c:v>2.1838</c:v>
                </c:pt>
                <c:pt idx="38">
                  <c:v>2.3257</c:v>
                </c:pt>
                <c:pt idx="39">
                  <c:v>2.1641</c:v>
                </c:pt>
                <c:pt idx="40">
                  <c:v>2.2174</c:v>
                </c:pt>
                <c:pt idx="41">
                  <c:v>2.325</c:v>
                </c:pt>
                <c:pt idx="42">
                  <c:v>2.192</c:v>
                </c:pt>
                <c:pt idx="43">
                  <c:v>2.1867</c:v>
                </c:pt>
                <c:pt idx="44">
                  <c:v>2.1805</c:v>
                </c:pt>
                <c:pt idx="45">
                  <c:v>2.1842</c:v>
                </c:pt>
                <c:pt idx="46">
                  <c:v>2.1932</c:v>
                </c:pt>
                <c:pt idx="47">
                  <c:v>2.2261</c:v>
                </c:pt>
                <c:pt idx="48">
                  <c:v>2.2394</c:v>
                </c:pt>
                <c:pt idx="49">
                  <c:v>2.2578</c:v>
                </c:pt>
                <c:pt idx="50">
                  <c:v>2.2421</c:v>
                </c:pt>
                <c:pt idx="51">
                  <c:v>1.977</c:v>
                </c:pt>
                <c:pt idx="52">
                  <c:v>2.051406302600105</c:v>
                </c:pt>
                <c:pt idx="53">
                  <c:v>2.051406302600105</c:v>
                </c:pt>
                <c:pt idx="54">
                  <c:v>2.051406302600105</c:v>
                </c:pt>
              </c:numCache>
            </c:numRef>
          </c:xVal>
          <c:yVal>
            <c:numRef>
              <c:f>Sheet1!$B$147:$B$201</c:f>
              <c:numCache>
                <c:formatCode>General</c:formatCode>
                <c:ptCount val="55"/>
                <c:pt idx="0">
                  <c:v>0.03515605677435929</c:v>
                </c:pt>
                <c:pt idx="1">
                  <c:v>0.035254619305522546</c:v>
                </c:pt>
                <c:pt idx="2">
                  <c:v>0.035179444493618366</c:v>
                </c:pt>
                <c:pt idx="3">
                  <c:v>0.035062505897322974</c:v>
                </c:pt>
                <c:pt idx="4">
                  <c:v>0.03499568384229704</c:v>
                </c:pt>
                <c:pt idx="5">
                  <c:v>0.03515772732573494</c:v>
                </c:pt>
                <c:pt idx="6">
                  <c:v>0.03508422306520641</c:v>
                </c:pt>
                <c:pt idx="7">
                  <c:v>0.035177773942242724</c:v>
                </c:pt>
                <c:pt idx="8">
                  <c:v>0.03488208634875295</c:v>
                </c:pt>
                <c:pt idx="9">
                  <c:v>0.03504914148631779</c:v>
                </c:pt>
                <c:pt idx="10">
                  <c:v>0.03506584700007427</c:v>
                </c:pt>
                <c:pt idx="11">
                  <c:v>0.035331464668802375</c:v>
                </c:pt>
                <c:pt idx="12">
                  <c:v>0.03644071078223293</c:v>
                </c:pt>
                <c:pt idx="13">
                  <c:v>0.03742633609386551</c:v>
                </c:pt>
                <c:pt idx="14">
                  <c:v>0.0383952558917416</c:v>
                </c:pt>
                <c:pt idx="15">
                  <c:v>0.038739389475125174</c:v>
                </c:pt>
                <c:pt idx="16">
                  <c:v>0.03724424599391983</c:v>
                </c:pt>
                <c:pt idx="17">
                  <c:v>0.03588942882826895</c:v>
                </c:pt>
                <c:pt idx="18">
                  <c:v>0.03562715226229215</c:v>
                </c:pt>
                <c:pt idx="19">
                  <c:v>0.035356522939437106</c:v>
                </c:pt>
                <c:pt idx="20">
                  <c:v>0.0353013947440407</c:v>
                </c:pt>
                <c:pt idx="21">
                  <c:v>0.035222878829385226</c:v>
                </c:pt>
                <c:pt idx="22">
                  <c:v>0.0353598640421884</c:v>
                </c:pt>
                <c:pt idx="23">
                  <c:v>0.03527132481927903</c:v>
                </c:pt>
                <c:pt idx="24">
                  <c:v>0.03548682594673768</c:v>
                </c:pt>
                <c:pt idx="25">
                  <c:v>0.035481814292610735</c:v>
                </c:pt>
                <c:pt idx="26">
                  <c:v>0.035588729580652234</c:v>
                </c:pt>
                <c:pt idx="27">
                  <c:v>0.03559040013202788</c:v>
                </c:pt>
                <c:pt idx="28">
                  <c:v>0.03559374123477918</c:v>
                </c:pt>
                <c:pt idx="29">
                  <c:v>0.035780842988851806</c:v>
                </c:pt>
                <c:pt idx="30">
                  <c:v>0.03587940552001506</c:v>
                </c:pt>
                <c:pt idx="31">
                  <c:v>0.035678939354937246</c:v>
                </c:pt>
                <c:pt idx="32">
                  <c:v>0.03576079637234402</c:v>
                </c:pt>
                <c:pt idx="33">
                  <c:v>0.035767478577846616</c:v>
                </c:pt>
                <c:pt idx="34">
                  <c:v>0.035630493365043446</c:v>
                </c:pt>
                <c:pt idx="35">
                  <c:v>0.03583430063287255</c:v>
                </c:pt>
                <c:pt idx="36">
                  <c:v>0.03829001115507575</c:v>
                </c:pt>
                <c:pt idx="37">
                  <c:v>0.039614758395964955</c:v>
                </c:pt>
                <c:pt idx="38">
                  <c:v>0.03724424599391983</c:v>
                </c:pt>
                <c:pt idx="39">
                  <c:v>0.0399438570169677</c:v>
                </c:pt>
                <c:pt idx="40">
                  <c:v>0.039053453133747085</c:v>
                </c:pt>
                <c:pt idx="41">
                  <c:v>0.037255939853549365</c:v>
                </c:pt>
                <c:pt idx="42">
                  <c:v>0.039477773183161785</c:v>
                </c:pt>
                <c:pt idx="43">
                  <c:v>0.03956631240607115</c:v>
                </c:pt>
                <c:pt idx="44">
                  <c:v>0.03966988659136136</c:v>
                </c:pt>
                <c:pt idx="45">
                  <c:v>0.03960807619046236</c:v>
                </c:pt>
                <c:pt idx="46">
                  <c:v>0.039457726566654</c:v>
                </c:pt>
                <c:pt idx="47">
                  <c:v>0.038908115164065664</c:v>
                </c:pt>
                <c:pt idx="48">
                  <c:v>0.03868593183110443</c:v>
                </c:pt>
                <c:pt idx="49">
                  <c:v>0.03837855037798511</c:v>
                </c:pt>
                <c:pt idx="50">
                  <c:v>0.03864082694396192</c:v>
                </c:pt>
                <c:pt idx="51">
                  <c:v>0.04306945864080591</c:v>
                </c:pt>
                <c:pt idx="52">
                  <c:v>0.041826463129150726</c:v>
                </c:pt>
                <c:pt idx="53">
                  <c:v>0.041826463129150726</c:v>
                </c:pt>
                <c:pt idx="54">
                  <c:v>0.04182646312915072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9284659976701494"/>
          <c:min val="0.0094114737063323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3434338648155604</c:v>
                </c:pt>
                <c:pt idx="1">
                  <c:v>1.4614961496149617</c:v>
                </c:pt>
                <c:pt idx="2">
                  <c:v>1.6674967042624873</c:v>
                </c:pt>
                <c:pt idx="3">
                  <c:v>1.7762767548483585</c:v>
                </c:pt>
                <c:pt idx="4">
                  <c:v>1.7925951153060231</c:v>
                </c:pt>
                <c:pt idx="5">
                  <c:v>1.6947905282331512</c:v>
                </c:pt>
                <c:pt idx="6">
                  <c:v>1.6130199354102421</c:v>
                </c:pt>
                <c:pt idx="7">
                  <c:v>1.5509000921927312</c:v>
                </c:pt>
                <c:pt idx="8">
                  <c:v>1.6090530975603825</c:v>
                </c:pt>
                <c:pt idx="9">
                  <c:v>1.5246616028824618</c:v>
                </c:pt>
                <c:pt idx="10">
                  <c:v>1.5643747115828333</c:v>
                </c:pt>
                <c:pt idx="11">
                  <c:v>1.5859416963718933</c:v>
                </c:pt>
                <c:pt idx="12">
                  <c:v>1.6172743414491766</c:v>
                </c:pt>
                <c:pt idx="13">
                  <c:v>1.5908099990311015</c:v>
                </c:pt>
                <c:pt idx="14">
                  <c:v>1.5380058750697967</c:v>
                </c:pt>
                <c:pt idx="15">
                  <c:v>1.6091807459356073</c:v>
                </c:pt>
                <c:pt idx="16">
                  <c:v>1.5460127201565557</c:v>
                </c:pt>
                <c:pt idx="17">
                  <c:v>1.5707474510379227</c:v>
                </c:pt>
                <c:pt idx="18">
                  <c:v>1.5413354143296103</c:v>
                </c:pt>
                <c:pt idx="19">
                  <c:v>1.596988871917958</c:v>
                </c:pt>
                <c:pt idx="20">
                  <c:v>1.5143221644521472</c:v>
                </c:pt>
                <c:pt idx="21">
                  <c:v>1.4936791157985987</c:v>
                </c:pt>
                <c:pt idx="22">
                  <c:v>1.4664542140460153</c:v>
                </c:pt>
                <c:pt idx="23">
                  <c:v>1.5063183475091129</c:v>
                </c:pt>
                <c:pt idx="24">
                  <c:v>1.5176524976276797</c:v>
                </c:pt>
                <c:pt idx="25">
                  <c:v>1.4722296688031586</c:v>
                </c:pt>
                <c:pt idx="26">
                  <c:v>1.4778797391934315</c:v>
                </c:pt>
                <c:pt idx="27">
                  <c:v>1.4655059847660499</c:v>
                </c:pt>
                <c:pt idx="28">
                  <c:v>1.4654167170678603</c:v>
                </c:pt>
                <c:pt idx="29">
                  <c:v>1.4468167607784215</c:v>
                </c:pt>
                <c:pt idx="30">
                  <c:v>1.4447818482168888</c:v>
                </c:pt>
                <c:pt idx="31">
                  <c:v>1.451730154114568</c:v>
                </c:pt>
                <c:pt idx="32">
                  <c:v>1.4164515117148853</c:v>
                </c:pt>
                <c:pt idx="33">
                  <c:v>1.450198144210323</c:v>
                </c:pt>
                <c:pt idx="34">
                  <c:v>1.4490638966058704</c:v>
                </c:pt>
                <c:pt idx="35">
                  <c:v>1.4184567005321722</c:v>
                </c:pt>
                <c:pt idx="36">
                  <c:v>1.3728538170530606</c:v>
                </c:pt>
                <c:pt idx="37">
                  <c:v>1.4090168914813466</c:v>
                </c:pt>
                <c:pt idx="38">
                  <c:v>1.418661218135824</c:v>
                </c:pt>
                <c:pt idx="39">
                  <c:v>1.3780902423624264</c:v>
                </c:pt>
                <c:pt idx="40">
                  <c:v>1.466579100992411</c:v>
                </c:pt>
                <c:pt idx="41">
                  <c:v>1.508462640538112</c:v>
                </c:pt>
                <c:pt idx="42">
                  <c:v>1.5277508717551338</c:v>
                </c:pt>
                <c:pt idx="43">
                  <c:v>1.5178831762076004</c:v>
                </c:pt>
                <c:pt idx="44">
                  <c:v>1.5593949352406729</c:v>
                </c:pt>
                <c:pt idx="45">
                  <c:v>1.5660363706526457</c:v>
                </c:pt>
                <c:pt idx="46">
                  <c:v>1.6310072729001286</c:v>
                </c:pt>
                <c:pt idx="47">
                  <c:v>1.644408029496108</c:v>
                </c:pt>
                <c:pt idx="48">
                  <c:v>1.6754792121488375</c:v>
                </c:pt>
                <c:pt idx="49">
                  <c:v>1.6911251714100128</c:v>
                </c:pt>
                <c:pt idx="50">
                  <c:v>1.6698400167181366</c:v>
                </c:pt>
                <c:pt idx="51">
                  <c:v>1.0695107689309036</c:v>
                </c:pt>
                <c:pt idx="52">
                  <c:v>0.6127354173691056</c:v>
                </c:pt>
                <c:pt idx="53">
                  <c:v>0.3798607657881651</c:v>
                </c:pt>
                <c:pt idx="54">
                  <c:v>0.2635535530633234</c:v>
                </c:pt>
                <c:pt idx="55">
                  <c:v>0.2391019417475728</c:v>
                </c:pt>
                <c:pt idx="56">
                  <c:v>0.22329418007283955</c:v>
                </c:pt>
                <c:pt idx="57">
                  <c:v>0.2599194384813912</c:v>
                </c:pt>
                <c:pt idx="58">
                  <c:v>0.2484470554244715</c:v>
                </c:pt>
                <c:pt idx="59">
                  <c:v>0.25180219146482125</c:v>
                </c:pt>
                <c:pt idx="60">
                  <c:v>0.2674884289791122</c:v>
                </c:pt>
                <c:pt idx="61">
                  <c:v>0.31875932431782084</c:v>
                </c:pt>
                <c:pt idx="62">
                  <c:v>0.28290497975999424</c:v>
                </c:pt>
                <c:pt idx="63">
                  <c:v>0.28128684520801756</c:v>
                </c:pt>
                <c:pt idx="64">
                  <c:v>0.29318968834166986</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3163005946671782</c:v>
                </c:pt>
                <c:pt idx="1">
                  <c:v>0.2837547393078799</c:v>
                </c:pt>
                <c:pt idx="2">
                  <c:v>0.3001716095037827</c:v>
                </c:pt>
                <c:pt idx="3">
                  <c:v>0.25604308034097223</c:v>
                </c:pt>
                <c:pt idx="4">
                  <c:v>0.33071964594958625</c:v>
                </c:pt>
                <c:pt idx="5">
                  <c:v>0.41493508046196886</c:v>
                </c:pt>
                <c:pt idx="6">
                  <c:v>0.33377041363690546</c:v>
                </c:pt>
                <c:pt idx="7">
                  <c:v>0.2122810367046919</c:v>
                </c:pt>
                <c:pt idx="8">
                  <c:v>0.5025726935503172</c:v>
                </c:pt>
                <c:pt idx="9">
                  <c:v>0.38305426282205063</c:v>
                </c:pt>
                <c:pt idx="10">
                  <c:v>0.24426253120798924</c:v>
                </c:pt>
                <c:pt idx="11">
                  <c:v>0.3846596218819639</c:v>
                </c:pt>
                <c:pt idx="12">
                  <c:v>0.38120631260358867</c:v>
                </c:pt>
                <c:pt idx="13">
                  <c:v>0.18727003392746217</c:v>
                </c:pt>
                <c:pt idx="14">
                  <c:v>0.2594121175764847</c:v>
                </c:pt>
                <c:pt idx="15">
                  <c:v>0.18874934087531756</c:v>
                </c:pt>
                <c:pt idx="16">
                  <c:v>0.23117982255776492</c:v>
                </c:pt>
                <c:pt idx="17">
                  <c:v>0.4821949514188586</c:v>
                </c:pt>
                <c:pt idx="18">
                  <c:v>0.38073316696145176</c:v>
                </c:pt>
                <c:pt idx="19">
                  <c:v>0.21134755199149777</c:v>
                </c:pt>
                <c:pt idx="20">
                  <c:v>0.46616068838828195</c:v>
                </c:pt>
                <c:pt idx="21">
                  <c:v>0.2419198761370234</c:v>
                </c:pt>
                <c:pt idx="22">
                  <c:v>0.36740064706166403</c:v>
                </c:pt>
                <c:pt idx="23">
                  <c:v>0.7491283333734101</c:v>
                </c:pt>
                <c:pt idx="24">
                  <c:v>0.2574861812064408</c:v>
                </c:pt>
                <c:pt idx="25">
                  <c:v>0.6628262913061292</c:v>
                </c:pt>
                <c:pt idx="26">
                  <c:v>0.608050589809072</c:v>
                </c:pt>
                <c:pt idx="27">
                  <c:v>0.5636534930911199</c:v>
                </c:pt>
                <c:pt idx="28">
                  <c:v>0.3504362326896585</c:v>
                </c:pt>
                <c:pt idx="29">
                  <c:v>0.4979771796797403</c:v>
                </c:pt>
                <c:pt idx="30">
                  <c:v>0.9083862215977909</c:v>
                </c:pt>
                <c:pt idx="31">
                  <c:v>0.5771683981638076</c:v>
                </c:pt>
                <c:pt idx="32">
                  <c:v>0.4563638124757846</c:v>
                </c:pt>
                <c:pt idx="33">
                  <c:v>0.2424301195180489</c:v>
                </c:pt>
                <c:pt idx="34">
                  <c:v>0.12017208642776456</c:v>
                </c:pt>
                <c:pt idx="35">
                  <c:v>0.31809728883233823</c:v>
                </c:pt>
                <c:pt idx="36">
                  <c:v>0.6551012980710906</c:v>
                </c:pt>
                <c:pt idx="37">
                  <c:v>1.0203885409989646</c:v>
                </c:pt>
                <c:pt idx="38">
                  <c:v>1.444327731092437</c:v>
                </c:pt>
                <c:pt idx="39">
                  <c:v>1.5089483687044662</c:v>
                </c:pt>
                <c:pt idx="40">
                  <c:v>1.516745406824147</c:v>
                </c:pt>
                <c:pt idx="41">
                  <c:v>1.4928342078471297</c:v>
                </c:pt>
                <c:pt idx="42">
                  <c:v>1.4566536964980545</c:v>
                </c:pt>
                <c:pt idx="43">
                  <c:v>1.4315302582551714</c:v>
                </c:pt>
                <c:pt idx="44">
                  <c:v>1.4387558972566834</c:v>
                </c:pt>
                <c:pt idx="45">
                  <c:v>1.3738317757009346</c:v>
                </c:pt>
                <c:pt idx="46">
                  <c:v>1.3914361224935141</c:v>
                </c:pt>
                <c:pt idx="47">
                  <c:v>1.3937798694840011</c:v>
                </c:pt>
                <c:pt idx="48">
                  <c:v>1.3492688821752266</c:v>
                </c:pt>
                <c:pt idx="49">
                  <c:v>1.3643579165761983</c:v>
                </c:pt>
                <c:pt idx="50">
                  <c:v>1.3422486976654449</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7.431691873624476</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7.431691873624476</c:v>
                </c:pt>
                <c:pt idx="1">
                  <c:v>7.431691873624476</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5685308658035129</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5685308658035129</c:v>
                </c:pt>
                <c:pt idx="1">
                  <c:v>1.5685308658035129</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5685308658035126</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5685308658035126</c:v>
                </c:pt>
                <c:pt idx="1">
                  <c:v>1.5685308658035126</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3163005946671782</c:v>
                </c:pt>
                <c:pt idx="1">
                  <c:v>0.2837547393078799</c:v>
                </c:pt>
                <c:pt idx="2">
                  <c:v>0.3001716095037827</c:v>
                </c:pt>
                <c:pt idx="3">
                  <c:v>0.25604308034097223</c:v>
                </c:pt>
                <c:pt idx="4">
                  <c:v>0.33071964594958625</c:v>
                </c:pt>
                <c:pt idx="5">
                  <c:v>0.41493508046196886</c:v>
                </c:pt>
                <c:pt idx="6">
                  <c:v>0.33377041363690546</c:v>
                </c:pt>
                <c:pt idx="7">
                  <c:v>0.2122810367046919</c:v>
                </c:pt>
                <c:pt idx="8">
                  <c:v>0.5025726935503172</c:v>
                </c:pt>
                <c:pt idx="9">
                  <c:v>0.38305426282205063</c:v>
                </c:pt>
                <c:pt idx="10">
                  <c:v>0.24426253120798924</c:v>
                </c:pt>
                <c:pt idx="11">
                  <c:v>0.3846596218819639</c:v>
                </c:pt>
                <c:pt idx="12">
                  <c:v>0.38120631260358867</c:v>
                </c:pt>
                <c:pt idx="13">
                  <c:v>0.18727003392746217</c:v>
                </c:pt>
                <c:pt idx="14">
                  <c:v>0.2594121175764847</c:v>
                </c:pt>
                <c:pt idx="15">
                  <c:v>0.18874934087531756</c:v>
                </c:pt>
                <c:pt idx="16">
                  <c:v>0.23117982255776492</c:v>
                </c:pt>
                <c:pt idx="17">
                  <c:v>0.4821949514188586</c:v>
                </c:pt>
                <c:pt idx="18">
                  <c:v>0.38073316696145176</c:v>
                </c:pt>
                <c:pt idx="19">
                  <c:v>0.21134755199149777</c:v>
                </c:pt>
                <c:pt idx="20">
                  <c:v>0.46616068838828195</c:v>
                </c:pt>
                <c:pt idx="21">
                  <c:v>0.2419198761370234</c:v>
                </c:pt>
                <c:pt idx="22">
                  <c:v>0.36740064706166403</c:v>
                </c:pt>
                <c:pt idx="23">
                  <c:v>0.7491283333734101</c:v>
                </c:pt>
                <c:pt idx="24">
                  <c:v>0.2574861812064408</c:v>
                </c:pt>
                <c:pt idx="25">
                  <c:v>0.6628262913061292</c:v>
                </c:pt>
                <c:pt idx="26">
                  <c:v>0.608050589809072</c:v>
                </c:pt>
                <c:pt idx="27">
                  <c:v>0.5636534930911199</c:v>
                </c:pt>
                <c:pt idx="28">
                  <c:v>0.3504362326896585</c:v>
                </c:pt>
                <c:pt idx="29">
                  <c:v>0.4979771796797403</c:v>
                </c:pt>
                <c:pt idx="30">
                  <c:v>0.9083862215977909</c:v>
                </c:pt>
                <c:pt idx="31">
                  <c:v>0.5771683981638076</c:v>
                </c:pt>
                <c:pt idx="32">
                  <c:v>0.4563638124757846</c:v>
                </c:pt>
                <c:pt idx="33">
                  <c:v>0.2424301195180489</c:v>
                </c:pt>
                <c:pt idx="34">
                  <c:v>0.12017208642776456</c:v>
                </c:pt>
                <c:pt idx="35">
                  <c:v>0.31809728883233823</c:v>
                </c:pt>
                <c:pt idx="36">
                  <c:v>0.6551012980710906</c:v>
                </c:pt>
                <c:pt idx="37">
                  <c:v>1.0203885409989646</c:v>
                </c:pt>
                <c:pt idx="38">
                  <c:v>1.444327731092437</c:v>
                </c:pt>
                <c:pt idx="39">
                  <c:v>1.5089483687044662</c:v>
                </c:pt>
                <c:pt idx="40">
                  <c:v>1.516745406824147</c:v>
                </c:pt>
                <c:pt idx="41">
                  <c:v>1.4928342078471297</c:v>
                </c:pt>
                <c:pt idx="42">
                  <c:v>1.4566536964980545</c:v>
                </c:pt>
                <c:pt idx="43">
                  <c:v>1.4315302582551714</c:v>
                </c:pt>
                <c:pt idx="44">
                  <c:v>1.4387558972566834</c:v>
                </c:pt>
                <c:pt idx="45">
                  <c:v>1.3738317757009346</c:v>
                </c:pt>
                <c:pt idx="46">
                  <c:v>1.3914361224935141</c:v>
                </c:pt>
                <c:pt idx="47">
                  <c:v>1.3937798694840011</c:v>
                </c:pt>
                <c:pt idx="48">
                  <c:v>1.3492688821752266</c:v>
                </c:pt>
                <c:pt idx="49">
                  <c:v>1.3643579165761983</c:v>
                </c:pt>
                <c:pt idx="50">
                  <c:v>1.3422486976654449</c:v>
                </c:pt>
                <c:pt idx="51">
                  <c:v>1.5685308658035129</c:v>
                </c:pt>
                <c:pt idx="52">
                  <c:v>7.431691873624476</c:v>
                </c:pt>
                <c:pt idx="53">
                  <c:v>1.5685308658035126</c:v>
                </c:pt>
              </c:numCache>
            </c:numRef>
          </c:xVal>
          <c:yVal>
            <c:numRef>
              <c:f>Sheet1!$B$146:$B$199</c:f>
              <c:numCache>
                <c:formatCode>General</c:formatCode>
                <c:ptCount val="54"/>
                <c:pt idx="0">
                  <c:v>-2.679699828799328e-06</c:v>
                </c:pt>
                <c:pt idx="1">
                  <c:v>-2.4868867413026843e-05</c:v>
                </c:pt>
                <c:pt idx="2">
                  <c:v>-1.3676146251948983e-05</c:v>
                </c:pt>
                <c:pt idx="3">
                  <c:v>-4.3762168512824224e-05</c:v>
                </c:pt>
                <c:pt idx="4">
                  <c:v>7.150945019178699e-06</c:v>
                </c:pt>
                <c:pt idx="5">
                  <c:v>6.456748451227643e-05</c:v>
                </c:pt>
                <c:pt idx="6">
                  <c:v>9.230902504614165e-06</c:v>
                </c:pt>
                <c:pt idx="7">
                  <c:v>-7.359832765977615e-05</c:v>
                </c:pt>
                <c:pt idx="8">
                  <c:v>0.00012431720262633683</c:v>
                </c:pt>
                <c:pt idx="9">
                  <c:v>4.2831727454281746e-05</c:v>
                </c:pt>
                <c:pt idx="10">
                  <c:v>-5.1793930961842294e-05</c:v>
                </c:pt>
                <c:pt idx="11">
                  <c:v>4.3926231833411395e-05</c:v>
                </c:pt>
                <c:pt idx="12">
                  <c:v>4.15718288702045e-05</c:v>
                </c:pt>
                <c:pt idx="13">
                  <c:v>-9.065037087531807e-05</c:v>
                </c:pt>
                <c:pt idx="14">
                  <c:v>-4.1465220683645996e-05</c:v>
                </c:pt>
                <c:pt idx="15">
                  <c:v>-8.964180651552172e-05</c:v>
                </c:pt>
                <c:pt idx="16">
                  <c:v>-6.071348189976269e-05</c:v>
                </c:pt>
                <c:pt idx="17">
                  <c:v>0.00011042403158654338</c:v>
                </c:pt>
                <c:pt idx="18">
                  <c:v>4.1249246844652585e-05</c:v>
                </c:pt>
                <c:pt idx="19">
                  <c:v>-7.42347604254758e-05</c:v>
                </c:pt>
                <c:pt idx="20">
                  <c:v>9.949216497719335e-05</c:v>
                </c:pt>
                <c:pt idx="21">
                  <c:v>-5.3391110245896685e-05</c:v>
                </c:pt>
                <c:pt idx="22">
                  <c:v>3.2159379176082624e-05</c:v>
                </c:pt>
                <c:pt idx="23">
                  <c:v>0.00029241431823365607</c:v>
                </c:pt>
                <c:pt idx="24">
                  <c:v>-4.2778288796303647e-05</c:v>
                </c:pt>
                <c:pt idx="25">
                  <c:v>0.0002335751679593386</c:v>
                </c:pt>
                <c:pt idx="26">
                  <c:v>0.0001962300987748355</c:v>
                </c:pt>
                <c:pt idx="27">
                  <c:v>0.00016596097207799033</c:v>
                </c:pt>
                <c:pt idx="28">
                  <c:v>2.0593352432798288e-05</c:v>
                </c:pt>
                <c:pt idx="29">
                  <c:v>0.00012118406550997772</c:v>
                </c:pt>
                <c:pt idx="30">
                  <c:v>0.0004009934270605305</c:v>
                </c:pt>
                <c:pt idx="31">
                  <c:v>0.00017517518661413147</c:v>
                </c:pt>
                <c:pt idx="32">
                  <c:v>9.281283456708691e-05</c:v>
                </c:pt>
                <c:pt idx="33">
                  <c:v>-5.304323566201105e-05</c:v>
                </c:pt>
                <c:pt idx="34">
                  <c:v>-0.0001363965215046986</c:v>
                </c:pt>
                <c:pt idx="35">
                  <c:v>-1.4547466822860053e-06</c:v>
                </c:pt>
                <c:pt idx="36">
                  <c:v>0.00022830840917893608</c:v>
                </c:pt>
                <c:pt idx="37">
                  <c:v>0.0004773545553079955</c:v>
                </c:pt>
                <c:pt idx="38">
                  <c:v>0.0007663885238627112</c:v>
                </c:pt>
                <c:pt idx="39">
                  <c:v>0.000810445690022374</c:v>
                </c:pt>
                <c:pt idx="40">
                  <c:v>0.0008157615676844673</c:v>
                </c:pt>
                <c:pt idx="41">
                  <c:v>0.0007994593505393503</c:v>
                </c:pt>
                <c:pt idx="42">
                  <c:v>0.000774792141128358</c:v>
                </c:pt>
                <c:pt idx="43">
                  <c:v>0.000757663441473394</c:v>
                </c:pt>
                <c:pt idx="44">
                  <c:v>0.0007625897496910661</c:v>
                </c:pt>
                <c:pt idx="45">
                  <c:v>0.0007183256737417551</c:v>
                </c:pt>
                <c:pt idx="46">
                  <c:v>0.0007303279946787528</c:v>
                </c:pt>
                <c:pt idx="47">
                  <c:v>0.0007319259184135206</c:v>
                </c:pt>
                <c:pt idx="48">
                  <c:v>0.000701579143199587</c:v>
                </c:pt>
                <c:pt idx="49">
                  <c:v>0.0007118665702563068</c:v>
                </c:pt>
                <c:pt idx="50">
                  <c:v>0.0006967929100881797</c:v>
                </c:pt>
                <c:pt idx="51">
                  <c:v>0.0008510679443346971</c:v>
                </c:pt>
                <c:pt idx="52">
                  <c:v>0.0048484636415622034</c:v>
                </c:pt>
                <c:pt idx="53">
                  <c:v>0.000851067944334696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28.727514696940904</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8.727514696940904</c:v>
                </c:pt>
                <c:pt idx="1">
                  <c:v>28.727514696940904</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9807445784737</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9807445784737</c:v>
                </c:pt>
                <c:pt idx="1">
                  <c:v>6.169807445784737</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98074457847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9807445784735</c:v>
                </c:pt>
                <c:pt idx="1">
                  <c:v>6.1698074457847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9807445784737</c:v>
                </c:pt>
                <c:pt idx="52">
                  <c:v>28.727514696940904</c:v>
                </c:pt>
                <c:pt idx="53">
                  <c:v>6.169807445784735</c:v>
                </c:pt>
              </c:numCache>
            </c:numRef>
          </c:xVal>
          <c:yVal>
            <c:numRef>
              <c:f>Sheet1!$B$146:$B$199</c:f>
              <c:numCache>
                <c:formatCode>General</c:formatCode>
                <c:ptCount val="54"/>
                <c:pt idx="0">
                  <c:v>-8.513965138639017e-06</c:v>
                </c:pt>
                <c:pt idx="1">
                  <c:v>-3.40495709321294e-05</c:v>
                </c:pt>
                <c:pt idx="2">
                  <c:v>-2.2194386840633865e-05</c:v>
                </c:pt>
                <c:pt idx="3">
                  <c:v>-5.4375275196621764e-05</c:v>
                </c:pt>
                <c:pt idx="4">
                  <c:v>1.3919360678572607e-06</c:v>
                </c:pt>
                <c:pt idx="5">
                  <c:v>6.523981092833325e-05</c:v>
                </c:pt>
                <c:pt idx="6">
                  <c:v>5.8221244428555965e-06</c:v>
                </c:pt>
                <c:pt idx="7">
                  <c:v>-8.46423221746104e-05</c:v>
                </c:pt>
                <c:pt idx="8">
                  <c:v>0.00012986739894280895</c:v>
                </c:pt>
                <c:pt idx="9">
                  <c:v>4.0696567330842466e-05</c:v>
                </c:pt>
                <c:pt idx="10">
                  <c:v>-6.19597576946189e-05</c:v>
                </c:pt>
                <c:pt idx="11">
                  <c:v>4.22028313783419e-05</c:v>
                </c:pt>
                <c:pt idx="12">
                  <c:v>3.89599334878431e-05</c:v>
                </c:pt>
                <c:pt idx="13">
                  <c:v>-0.00010337315862410333</c:v>
                </c:pt>
                <c:pt idx="14">
                  <c:v>-5.068935846862317e-05</c:v>
                </c:pt>
                <c:pt idx="15">
                  <c:v>-0.00010271749074460359</c:v>
                </c:pt>
                <c:pt idx="16">
                  <c:v>-7.188337965461519e-05</c:v>
                </c:pt>
                <c:pt idx="17">
                  <c:v>0.0001121466454428156</c:v>
                </c:pt>
                <c:pt idx="18">
                  <c:v>3.6195495941844166e-05</c:v>
                </c:pt>
                <c:pt idx="19">
                  <c:v>-8.721183143210943e-05</c:v>
                </c:pt>
                <c:pt idx="20">
                  <c:v>9.949402744382038e-05</c:v>
                </c:pt>
                <c:pt idx="21">
                  <c:v>-6.506088955711775e-05</c:v>
                </c:pt>
                <c:pt idx="22">
                  <c:v>2.7388281452347474e-05</c:v>
                </c:pt>
                <c:pt idx="23">
                  <c:v>0.00030980392998174134</c:v>
                </c:pt>
                <c:pt idx="24">
                  <c:v>-5.240827155812252e-05</c:v>
                </c:pt>
                <c:pt idx="25">
                  <c:v>0.0002450522966927656</c:v>
                </c:pt>
                <c:pt idx="26">
                  <c:v>0.00020075041294278226</c:v>
                </c:pt>
                <c:pt idx="27">
                  <c:v>0.00017120991685829335</c:v>
                </c:pt>
                <c:pt idx="28">
                  <c:v>1.4682501192852268e-05</c:v>
                </c:pt>
                <c:pt idx="29">
                  <c:v>0.00012199938438881193</c:v>
                </c:pt>
                <c:pt idx="30">
                  <c:v>0.000422259831692699</c:v>
                </c:pt>
                <c:pt idx="31">
                  <c:v>0.00018106265580428968</c:v>
                </c:pt>
                <c:pt idx="32">
                  <c:v>9.16968959038233e-05</c:v>
                </c:pt>
                <c:pt idx="33">
                  <c:v>-6.506088955711775e-05</c:v>
                </c:pt>
                <c:pt idx="34">
                  <c:v>-0.00015366465705708444</c:v>
                </c:pt>
                <c:pt idx="35">
                  <c:v>-1.1898629057137747e-05</c:v>
                </c:pt>
                <c:pt idx="36">
                  <c:v>0.000236191919942769</c:v>
                </c:pt>
                <c:pt idx="37">
                  <c:v>0.000491175842054173</c:v>
                </c:pt>
                <c:pt idx="38">
                  <c:v>0.0007323730179425823</c:v>
                </c:pt>
                <c:pt idx="39">
                  <c:v>0.000770738449270068</c:v>
                </c:pt>
                <c:pt idx="40">
                  <c:v>0.0007817784787005639</c:v>
                </c:pt>
                <c:pt idx="41">
                  <c:v>0.0007711105850935678</c:v>
                </c:pt>
                <c:pt idx="42">
                  <c:v>0.0007528227674815746</c:v>
                </c:pt>
                <c:pt idx="43">
                  <c:v>0.0007449193114205776</c:v>
                </c:pt>
                <c:pt idx="44">
                  <c:v>0.0007791203656755648</c:v>
                </c:pt>
                <c:pt idx="45">
                  <c:v>0.0007554277182460736</c:v>
                </c:pt>
                <c:pt idx="46">
                  <c:v>0.0007746724565470663</c:v>
                </c:pt>
                <c:pt idx="47">
                  <c:v>0.000775842026278066</c:v>
                </c:pt>
                <c:pt idx="48">
                  <c:v>0.0007470103603335768</c:v>
                </c:pt>
                <c:pt idx="49">
                  <c:v>0.0007599110688815719</c:v>
                </c:pt>
                <c:pt idx="50">
                  <c:v>0.0007439801114850779</c:v>
                </c:pt>
                <c:pt idx="51">
                  <c:v>0.0008510679443346971</c:v>
                </c:pt>
                <c:pt idx="52">
                  <c:v>0.0048484636415622034</c:v>
                </c:pt>
                <c:pt idx="53">
                  <c:v>0.000851067944334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1617551751744117</c:v>
                </c:pt>
                <c:pt idx="1">
                  <c:v>2.2988752210059062</c:v>
                </c:pt>
                <c:pt idx="2">
                  <c:v>2.5367302978533757</c:v>
                </c:pt>
                <c:pt idx="3">
                  <c:v>2.667292541049996</c:v>
                </c:pt>
                <c:pt idx="4">
                  <c:v>2.70293071195393</c:v>
                </c:pt>
                <c:pt idx="5">
                  <c:v>2.550921187308086</c:v>
                </c:pt>
                <c:pt idx="6">
                  <c:v>2.4097290238328437</c:v>
                </c:pt>
                <c:pt idx="7">
                  <c:v>2.3300528521960997</c:v>
                </c:pt>
                <c:pt idx="8">
                  <c:v>2.4013721504283434</c:v>
                </c:pt>
                <c:pt idx="9">
                  <c:v>2.245178174517817</c:v>
                </c:pt>
                <c:pt idx="10">
                  <c:v>2.3022482753690534</c:v>
                </c:pt>
                <c:pt idx="11">
                  <c:v>2.3264567887969627</c:v>
                </c:pt>
                <c:pt idx="12">
                  <c:v>2.386782970780386</c:v>
                </c:pt>
                <c:pt idx="13">
                  <c:v>2.3597786640796232</c:v>
                </c:pt>
                <c:pt idx="14">
                  <c:v>2.2620059270896564</c:v>
                </c:pt>
                <c:pt idx="15">
                  <c:v>2.379491642191523</c:v>
                </c:pt>
                <c:pt idx="16">
                  <c:v>2.290140232633982</c:v>
                </c:pt>
                <c:pt idx="17">
                  <c:v>2.3362426358280604</c:v>
                </c:pt>
                <c:pt idx="18">
                  <c:v>2.2946558234098173</c:v>
                </c:pt>
                <c:pt idx="19">
                  <c:v>2.385334057577404</c:v>
                </c:pt>
                <c:pt idx="20">
                  <c:v>2.277898472011007</c:v>
                </c:pt>
                <c:pt idx="21">
                  <c:v>2.238901321013499</c:v>
                </c:pt>
                <c:pt idx="22">
                  <c:v>2.206954183773571</c:v>
                </c:pt>
                <c:pt idx="23">
                  <c:v>2.234257290127239</c:v>
                </c:pt>
                <c:pt idx="24">
                  <c:v>2.238515647430376</c:v>
                </c:pt>
                <c:pt idx="25">
                  <c:v>2.188133874239351</c:v>
                </c:pt>
                <c:pt idx="26">
                  <c:v>2.2052898994630823</c:v>
                </c:pt>
                <c:pt idx="27">
                  <c:v>2.1964266299423767</c:v>
                </c:pt>
                <c:pt idx="28">
                  <c:v>2.1963450451430435</c:v>
                </c:pt>
                <c:pt idx="29">
                  <c:v>2.156713991546548</c:v>
                </c:pt>
                <c:pt idx="30">
                  <c:v>2.098701390359235</c:v>
                </c:pt>
                <c:pt idx="31">
                  <c:v>2.0976156297048423</c:v>
                </c:pt>
                <c:pt idx="32">
                  <c:v>2.0507965343767465</c:v>
                </c:pt>
                <c:pt idx="33">
                  <c:v>2.1262311344150784</c:v>
                </c:pt>
                <c:pt idx="34">
                  <c:v>2.1578530829556084</c:v>
                </c:pt>
                <c:pt idx="35">
                  <c:v>2.1219874068176887</c:v>
                </c:pt>
                <c:pt idx="36">
                  <c:v>2.0606799650553294</c:v>
                </c:pt>
                <c:pt idx="37">
                  <c:v>2.116611902154071</c:v>
                </c:pt>
                <c:pt idx="38">
                  <c:v>2.1303236175031044</c:v>
                </c:pt>
                <c:pt idx="39">
                  <c:v>2.074162067327022</c:v>
                </c:pt>
                <c:pt idx="40">
                  <c:v>2.1766001227392513</c:v>
                </c:pt>
                <c:pt idx="41">
                  <c:v>2.216117869501623</c:v>
                </c:pt>
                <c:pt idx="42">
                  <c:v>2.252892443936581</c:v>
                </c:pt>
                <c:pt idx="43">
                  <c:v>2.2305934442619435</c:v>
                </c:pt>
                <c:pt idx="44">
                  <c:v>2.275208010153716</c:v>
                </c:pt>
                <c:pt idx="45">
                  <c:v>2.27740170460524</c:v>
                </c:pt>
                <c:pt idx="46">
                  <c:v>2.3100720393186562</c:v>
                </c:pt>
                <c:pt idx="47">
                  <c:v>2.3355580655098063</c:v>
                </c:pt>
                <c:pt idx="48">
                  <c:v>2.329597384836052</c:v>
                </c:pt>
                <c:pt idx="49">
                  <c:v>2.286983114812766</c:v>
                </c:pt>
                <c:pt idx="50">
                  <c:v>2.2118844769784394</c:v>
                </c:pt>
                <c:pt idx="51">
                  <c:v>1.4174954792043402</c:v>
                </c:pt>
                <c:pt idx="52">
                  <c:v>0.9410067685024226</c:v>
                </c:pt>
                <c:pt idx="53">
                  <c:v>0.5744040905331228</c:v>
                </c:pt>
                <c:pt idx="54">
                  <c:v>0.3985263079942237</c:v>
                </c:pt>
                <c:pt idx="55">
                  <c:v>0.3643929866094548</c:v>
                </c:pt>
                <c:pt idx="56">
                  <c:v>0.3402050490574358</c:v>
                </c:pt>
                <c:pt idx="57">
                  <c:v>0.3928688614240402</c:v>
                </c:pt>
                <c:pt idx="58">
                  <c:v>0.37663333090006573</c:v>
                </c:pt>
                <c:pt idx="59">
                  <c:v>0.38538486999374794</c:v>
                </c:pt>
                <c:pt idx="60">
                  <c:v>0.4097722263041881</c:v>
                </c:pt>
                <c:pt idx="61">
                  <c:v>0.48782912907383535</c:v>
                </c:pt>
                <c:pt idx="62">
                  <c:v>0.43390889052167525</c:v>
                </c:pt>
                <c:pt idx="63">
                  <c:v>0.43042821900659084</c:v>
                </c:pt>
                <c:pt idx="64">
                  <c:v>0.44715029707327814</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48371837183718375</c:v>
                </c:pt>
                <c:pt idx="1">
                  <c:v>0.4334353904607326</c:v>
                </c:pt>
                <c:pt idx="2">
                  <c:v>0.45892612985477255</c:v>
                </c:pt>
                <c:pt idx="3">
                  <c:v>0.3915291163546398</c:v>
                </c:pt>
                <c:pt idx="4">
                  <c:v>0.5072677635947761</c:v>
                </c:pt>
                <c:pt idx="5">
                  <c:v>0.6427513149122157</c:v>
                </c:pt>
                <c:pt idx="6">
                  <c:v>0.5177323323841574</c:v>
                </c:pt>
                <c:pt idx="7">
                  <c:v>0.3278779166205905</c:v>
                </c:pt>
                <c:pt idx="8">
                  <c:v>0.7729397475063492</c:v>
                </c:pt>
                <c:pt idx="9">
                  <c:v>0.5877502944640753</c:v>
                </c:pt>
                <c:pt idx="10">
                  <c:v>0.3733533922870877</c:v>
                </c:pt>
                <c:pt idx="11">
                  <c:v>0.5867110120244143</c:v>
                </c:pt>
                <c:pt idx="12">
                  <c:v>0.5830057676058925</c:v>
                </c:pt>
                <c:pt idx="13">
                  <c:v>0.2872430094916994</c:v>
                </c:pt>
                <c:pt idx="14">
                  <c:v>0.39587681716650186</c:v>
                </c:pt>
                <c:pt idx="15">
                  <c:v>0.2876712328767123</c:v>
                </c:pt>
                <c:pt idx="16">
                  <c:v>0.35261111926067185</c:v>
                </c:pt>
                <c:pt idx="17">
                  <c:v>0.7360247304309425</c:v>
                </c:pt>
                <c:pt idx="18">
                  <c:v>0.5737758790667105</c:v>
                </c:pt>
                <c:pt idx="19">
                  <c:v>0.318448156640099</c:v>
                </c:pt>
                <c:pt idx="20">
                  <c:v>0.7054133138258961</c:v>
                </c:pt>
                <c:pt idx="21">
                  <c:v>0.36844626211267084</c:v>
                </c:pt>
                <c:pt idx="22">
                  <c:v>0.5670790787806514</c:v>
                </c:pt>
                <c:pt idx="23">
                  <c:v>1.1580982119623806</c:v>
                </c:pt>
                <c:pt idx="24">
                  <c:v>0.3988979485461111</c:v>
                </c:pt>
                <c:pt idx="25">
                  <c:v>1.0293457104356938</c:v>
                </c:pt>
                <c:pt idx="26">
                  <c:v>0.9357338024478796</c:v>
                </c:pt>
                <c:pt idx="27">
                  <c:v>0.8688512381307019</c:v>
                </c:pt>
                <c:pt idx="28">
                  <c:v>0.5409842181845316</c:v>
                </c:pt>
                <c:pt idx="29">
                  <c:v>0.7680753278780407</c:v>
                </c:pt>
                <c:pt idx="30">
                  <c:v>1.4059688062387523</c:v>
                </c:pt>
                <c:pt idx="31">
                  <c:v>0.8951549443549294</c:v>
                </c:pt>
                <c:pt idx="32">
                  <c:v>0.7098839837275879</c:v>
                </c:pt>
                <c:pt idx="33">
                  <c:v>0.3769317753486619</c:v>
                </c:pt>
                <c:pt idx="34">
                  <c:v>0.18623361144219308</c:v>
                </c:pt>
                <c:pt idx="35">
                  <c:v>0.48429758223745484</c:v>
                </c:pt>
                <c:pt idx="36">
                  <c:v>0.9818181818181819</c:v>
                </c:pt>
                <c:pt idx="37">
                  <c:v>1.4485860282794343</c:v>
                </c:pt>
                <c:pt idx="38">
                  <c:v>2.0549992527275442</c:v>
                </c:pt>
                <c:pt idx="39">
                  <c:v>2.1492217459959395</c:v>
                </c:pt>
                <c:pt idx="40">
                  <c:v>2.1742794792685682</c:v>
                </c:pt>
                <c:pt idx="41">
                  <c:v>2.1717302141880603</c:v>
                </c:pt>
                <c:pt idx="42">
                  <c:v>2.1319716010478755</c:v>
                </c:pt>
                <c:pt idx="43">
                  <c:v>2.1060829458243546</c:v>
                </c:pt>
                <c:pt idx="44">
                  <c:v>2.1578375949983153</c:v>
                </c:pt>
                <c:pt idx="45">
                  <c:v>2.124405705229794</c:v>
                </c:pt>
                <c:pt idx="46">
                  <c:v>2.1567573662056523</c:v>
                </c:pt>
                <c:pt idx="47">
                  <c:v>2.167056427278214</c:v>
                </c:pt>
                <c:pt idx="48">
                  <c:v>2.099432138693543</c:v>
                </c:pt>
                <c:pt idx="49">
                  <c:v>2.1232964144922097</c:v>
                </c:pt>
                <c:pt idx="50">
                  <c:v>2.096865345490166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0.777748179101549</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0.777748179101549</c:v>
                </c:pt>
                <c:pt idx="1">
                  <c:v>10.777748179101549</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3098787085294354</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3098787085294354</c:v>
                </c:pt>
                <c:pt idx="1">
                  <c:v>2.3098787085294354</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3098787085294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309878708529435</c:v>
                </c:pt>
                <c:pt idx="1">
                  <c:v>2.3098787085294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48371837183718375</c:v>
                </c:pt>
                <c:pt idx="1">
                  <c:v>0.4334353904607326</c:v>
                </c:pt>
                <c:pt idx="2">
                  <c:v>0.45892612985477255</c:v>
                </c:pt>
                <c:pt idx="3">
                  <c:v>0.3915291163546398</c:v>
                </c:pt>
                <c:pt idx="4">
                  <c:v>0.5072677635947761</c:v>
                </c:pt>
                <c:pt idx="5">
                  <c:v>0.6427513149122157</c:v>
                </c:pt>
                <c:pt idx="6">
                  <c:v>0.5177323323841574</c:v>
                </c:pt>
                <c:pt idx="7">
                  <c:v>0.3278779166205905</c:v>
                </c:pt>
                <c:pt idx="8">
                  <c:v>0.7729397475063492</c:v>
                </c:pt>
                <c:pt idx="9">
                  <c:v>0.5877502944640753</c:v>
                </c:pt>
                <c:pt idx="10">
                  <c:v>0.3733533922870877</c:v>
                </c:pt>
                <c:pt idx="11">
                  <c:v>0.5867110120244143</c:v>
                </c:pt>
                <c:pt idx="12">
                  <c:v>0.5830057676058925</c:v>
                </c:pt>
                <c:pt idx="13">
                  <c:v>0.2872430094916994</c:v>
                </c:pt>
                <c:pt idx="14">
                  <c:v>0.39587681716650186</c:v>
                </c:pt>
                <c:pt idx="15">
                  <c:v>0.2876712328767123</c:v>
                </c:pt>
                <c:pt idx="16">
                  <c:v>0.35261111926067185</c:v>
                </c:pt>
                <c:pt idx="17">
                  <c:v>0.7360247304309425</c:v>
                </c:pt>
                <c:pt idx="18">
                  <c:v>0.5737758790667105</c:v>
                </c:pt>
                <c:pt idx="19">
                  <c:v>0.318448156640099</c:v>
                </c:pt>
                <c:pt idx="20">
                  <c:v>0.7054133138258961</c:v>
                </c:pt>
                <c:pt idx="21">
                  <c:v>0.36844626211267084</c:v>
                </c:pt>
                <c:pt idx="22">
                  <c:v>0.5670790787806514</c:v>
                </c:pt>
                <c:pt idx="23">
                  <c:v>1.1580982119623806</c:v>
                </c:pt>
                <c:pt idx="24">
                  <c:v>0.3988979485461111</c:v>
                </c:pt>
                <c:pt idx="25">
                  <c:v>1.0293457104356938</c:v>
                </c:pt>
                <c:pt idx="26">
                  <c:v>0.9357338024478796</c:v>
                </c:pt>
                <c:pt idx="27">
                  <c:v>0.8688512381307019</c:v>
                </c:pt>
                <c:pt idx="28">
                  <c:v>0.5409842181845316</c:v>
                </c:pt>
                <c:pt idx="29">
                  <c:v>0.7680753278780407</c:v>
                </c:pt>
                <c:pt idx="30">
                  <c:v>1.4059688062387523</c:v>
                </c:pt>
                <c:pt idx="31">
                  <c:v>0.8951549443549294</c:v>
                </c:pt>
                <c:pt idx="32">
                  <c:v>0.7098839837275879</c:v>
                </c:pt>
                <c:pt idx="33">
                  <c:v>0.3769317753486619</c:v>
                </c:pt>
                <c:pt idx="34">
                  <c:v>0.18623361144219308</c:v>
                </c:pt>
                <c:pt idx="35">
                  <c:v>0.48429758223745484</c:v>
                </c:pt>
                <c:pt idx="36">
                  <c:v>0.9818181818181819</c:v>
                </c:pt>
                <c:pt idx="37">
                  <c:v>1.4485860282794343</c:v>
                </c:pt>
                <c:pt idx="38">
                  <c:v>2.0549992527275442</c:v>
                </c:pt>
                <c:pt idx="39">
                  <c:v>2.1492217459959395</c:v>
                </c:pt>
                <c:pt idx="40">
                  <c:v>2.1742794792685682</c:v>
                </c:pt>
                <c:pt idx="41">
                  <c:v>2.1717302141880603</c:v>
                </c:pt>
                <c:pt idx="42">
                  <c:v>2.1319716010478755</c:v>
                </c:pt>
                <c:pt idx="43">
                  <c:v>2.1060829458243546</c:v>
                </c:pt>
                <c:pt idx="44">
                  <c:v>2.1578375949983153</c:v>
                </c:pt>
                <c:pt idx="45">
                  <c:v>2.124405705229794</c:v>
                </c:pt>
                <c:pt idx="46">
                  <c:v>2.1567573662056523</c:v>
                </c:pt>
                <c:pt idx="47">
                  <c:v>2.167056427278214</c:v>
                </c:pt>
                <c:pt idx="48">
                  <c:v>2.099432138693543</c:v>
                </c:pt>
                <c:pt idx="49">
                  <c:v>2.1232964144922097</c:v>
                </c:pt>
                <c:pt idx="50">
                  <c:v>2.0968653454901665</c:v>
                </c:pt>
                <c:pt idx="51">
                  <c:v>2.3098787085294354</c:v>
                </c:pt>
                <c:pt idx="52">
                  <c:v>10.777748179101549</c:v>
                </c:pt>
                <c:pt idx="53">
                  <c:v>2.309878708529435</c:v>
                </c:pt>
              </c:numCache>
            </c:numRef>
          </c:xVal>
          <c:yVal>
            <c:numRef>
              <c:f>Sheet1!$B$146:$B$199</c:f>
              <c:numCache>
                <c:formatCode>General</c:formatCode>
                <c:ptCount val="54"/>
                <c:pt idx="0">
                  <c:v>-1.1000784725192809e-05</c:v>
                </c:pt>
                <c:pt idx="1">
                  <c:v>-3.47376850277451e-05</c:v>
                </c:pt>
                <c:pt idx="2">
                  <c:v>-2.2704366336780618e-05</c:v>
                </c:pt>
                <c:pt idx="3">
                  <c:v>-5.452022423441219e-05</c:v>
                </c:pt>
                <c:pt idx="4">
                  <c:v>1.1608919584137002e-07</c:v>
                </c:pt>
                <c:pt idx="5">
                  <c:v>6.407330617510173e-05</c:v>
                </c:pt>
                <c:pt idx="6">
                  <c:v>5.0560593261541784e-06</c:v>
                </c:pt>
                <c:pt idx="7">
                  <c:v>-8.45678097368215e-05</c:v>
                </c:pt>
                <c:pt idx="8">
                  <c:v>0.0001255308761210189</c:v>
                </c:pt>
                <c:pt idx="9">
                  <c:v>3.810917868747477e-05</c:v>
                </c:pt>
                <c:pt idx="10">
                  <c:v>-6.310037080305294e-05</c:v>
                </c:pt>
                <c:pt idx="11">
                  <c:v>3.7618568485352195e-05</c:v>
                </c:pt>
                <c:pt idx="12">
                  <c:v>3.5869447511387246e-05</c:v>
                </c:pt>
                <c:pt idx="13">
                  <c:v>-0.00010375017945552883</c:v>
                </c:pt>
                <c:pt idx="14">
                  <c:v>-5.246782125647683e-05</c:v>
                </c:pt>
                <c:pt idx="15">
                  <c:v>-0.00010354802963228796</c:v>
                </c:pt>
                <c:pt idx="16">
                  <c:v>-7.289209860833652e-05</c:v>
                </c:pt>
                <c:pt idx="17">
                  <c:v>0.00010810454108678975</c:v>
                </c:pt>
                <c:pt idx="18">
                  <c:v>3.151232830204696e-05</c:v>
                </c:pt>
                <c:pt idx="19">
                  <c:v>-8.901928151527796e-05</c:v>
                </c:pt>
                <c:pt idx="20">
                  <c:v>9.365392331943962e-05</c:v>
                </c:pt>
                <c:pt idx="21">
                  <c:v>-6.541686152284007e-05</c:v>
                </c:pt>
                <c:pt idx="22">
                  <c:v>2.8350994658240142e-05</c:v>
                </c:pt>
                <c:pt idx="23">
                  <c:v>0.00030735120222758936</c:v>
                </c:pt>
                <c:pt idx="24">
                  <c:v>-5.1041646984473904e-05</c:v>
                </c:pt>
                <c:pt idx="25">
                  <c:v>0.00024657148692863794</c:v>
                </c:pt>
                <c:pt idx="26">
                  <c:v>0.00020238046113399213</c:v>
                </c:pt>
                <c:pt idx="27">
                  <c:v>0.00017080745735185366</c:v>
                </c:pt>
                <c:pt idx="28">
                  <c:v>1.6032490714693433e-05</c:v>
                </c:pt>
                <c:pt idx="29">
                  <c:v>0.00012323454761013604</c:v>
                </c:pt>
                <c:pt idx="30">
                  <c:v>0.00042436255324958966</c:v>
                </c:pt>
                <c:pt idx="31">
                  <c:v>0.00018322455027555449</c:v>
                </c:pt>
                <c:pt idx="32">
                  <c:v>9.576437585898966e-05</c:v>
                </c:pt>
                <c:pt idx="33">
                  <c:v>-6.141113679878786e-05</c:v>
                </c:pt>
                <c:pt idx="34">
                  <c:v>-0.00015143331091449272</c:v>
                </c:pt>
                <c:pt idx="35">
                  <c:v>-1.0727359022319206e-05</c:v>
                </c:pt>
                <c:pt idx="36">
                  <c:v>0.00022413534297817343</c:v>
                </c:pt>
                <c:pt idx="37">
                  <c:v>0.0004444807070077747</c:v>
                </c:pt>
                <c:pt idx="38">
                  <c:v>0.0007307479460783548</c:v>
                </c:pt>
                <c:pt idx="39">
                  <c:v>0.0007752272085991177</c:v>
                </c:pt>
                <c:pt idx="40">
                  <c:v>0.0007870561196982296</c:v>
                </c:pt>
                <c:pt idx="41">
                  <c:v>0.0007858526975978619</c:v>
                </c:pt>
                <c:pt idx="42">
                  <c:v>0.0007670839967284602</c:v>
                </c:pt>
                <c:pt idx="43">
                  <c:v>0.0007548628353894536</c:v>
                </c:pt>
                <c:pt idx="44">
                  <c:v>0.0007792944604444313</c:v>
                </c:pt>
                <c:pt idx="45">
                  <c:v>0.0007635123923840645</c:v>
                </c:pt>
                <c:pt idx="46">
                  <c:v>0.0007787845208494931</c:v>
                </c:pt>
                <c:pt idx="47">
                  <c:v>0.0007836463603665069</c:v>
                </c:pt>
                <c:pt idx="48">
                  <c:v>0.0007517232135636582</c:v>
                </c:pt>
                <c:pt idx="49">
                  <c:v>0.0007629887336247031</c:v>
                </c:pt>
                <c:pt idx="50">
                  <c:v>0.0007505115170274152</c:v>
                </c:pt>
                <c:pt idx="51">
                  <c:v>0.0008510679443346969</c:v>
                </c:pt>
                <c:pt idx="52">
                  <c:v>0.0048484636415622034</c:v>
                </c:pt>
                <c:pt idx="53">
                  <c:v>0.000851067944334696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28.727514696940904</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8.727514696940904</c:v>
                </c:pt>
                <c:pt idx="1">
                  <c:v>28.727514696940904</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9807445784737</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9807445784737</c:v>
                </c:pt>
                <c:pt idx="1">
                  <c:v>6.169807445784737</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98074457847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9807445784735</c:v>
                </c:pt>
                <c:pt idx="1">
                  <c:v>6.1698074457847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9807445784737</c:v>
                </c:pt>
                <c:pt idx="52">
                  <c:v>28.727514696940904</c:v>
                </c:pt>
                <c:pt idx="53">
                  <c:v>6.169807445784735</c:v>
                </c:pt>
              </c:numCache>
            </c:numRef>
          </c:xVal>
          <c:yVal>
            <c:numRef>
              <c:f>Sheet1!$B$146:$B$199</c:f>
              <c:numCache>
                <c:formatCode>General</c:formatCode>
                <c:ptCount val="54"/>
                <c:pt idx="0">
                  <c:v>-8.513965138639017e-06</c:v>
                </c:pt>
                <c:pt idx="1">
                  <c:v>-3.40495709321294e-05</c:v>
                </c:pt>
                <c:pt idx="2">
                  <c:v>-2.2194386840633865e-05</c:v>
                </c:pt>
                <c:pt idx="3">
                  <c:v>-5.4375275196621764e-05</c:v>
                </c:pt>
                <c:pt idx="4">
                  <c:v>1.3919360678572607e-06</c:v>
                </c:pt>
                <c:pt idx="5">
                  <c:v>6.523981092833325e-05</c:v>
                </c:pt>
                <c:pt idx="6">
                  <c:v>5.8221244428555965e-06</c:v>
                </c:pt>
                <c:pt idx="7">
                  <c:v>-8.46423221746104e-05</c:v>
                </c:pt>
                <c:pt idx="8">
                  <c:v>0.00012986739894280895</c:v>
                </c:pt>
                <c:pt idx="9">
                  <c:v>4.0696567330842466e-05</c:v>
                </c:pt>
                <c:pt idx="10">
                  <c:v>-6.19597576946189e-05</c:v>
                </c:pt>
                <c:pt idx="11">
                  <c:v>4.22028313783419e-05</c:v>
                </c:pt>
                <c:pt idx="12">
                  <c:v>3.89599334878431e-05</c:v>
                </c:pt>
                <c:pt idx="13">
                  <c:v>-0.00010337315862410333</c:v>
                </c:pt>
                <c:pt idx="14">
                  <c:v>-5.068935846862317e-05</c:v>
                </c:pt>
                <c:pt idx="15">
                  <c:v>-0.00010271749074460359</c:v>
                </c:pt>
                <c:pt idx="16">
                  <c:v>-7.188337965461519e-05</c:v>
                </c:pt>
                <c:pt idx="17">
                  <c:v>0.0001121466454428156</c:v>
                </c:pt>
                <c:pt idx="18">
                  <c:v>3.6195495941844166e-05</c:v>
                </c:pt>
                <c:pt idx="19">
                  <c:v>-8.721183143210943e-05</c:v>
                </c:pt>
                <c:pt idx="20">
                  <c:v>9.949402744382038e-05</c:v>
                </c:pt>
                <c:pt idx="21">
                  <c:v>-6.506088955711775e-05</c:v>
                </c:pt>
                <c:pt idx="22">
                  <c:v>2.7388281452347474e-05</c:v>
                </c:pt>
                <c:pt idx="23">
                  <c:v>0.00030980392998174134</c:v>
                </c:pt>
                <c:pt idx="24">
                  <c:v>-5.240827155812252e-05</c:v>
                </c:pt>
                <c:pt idx="25">
                  <c:v>0.0002450522966927656</c:v>
                </c:pt>
                <c:pt idx="26">
                  <c:v>0.00020075041294278226</c:v>
                </c:pt>
                <c:pt idx="27">
                  <c:v>0.00017120991685829335</c:v>
                </c:pt>
                <c:pt idx="28">
                  <c:v>1.4682501192852268e-05</c:v>
                </c:pt>
                <c:pt idx="29">
                  <c:v>0.00012199938438881193</c:v>
                </c:pt>
                <c:pt idx="30">
                  <c:v>0.000422259831692699</c:v>
                </c:pt>
                <c:pt idx="31">
                  <c:v>0.00018106265580428968</c:v>
                </c:pt>
                <c:pt idx="32">
                  <c:v>9.16968959038233e-05</c:v>
                </c:pt>
                <c:pt idx="33">
                  <c:v>-6.506088955711775e-05</c:v>
                </c:pt>
                <c:pt idx="34">
                  <c:v>-0.00015366465705708444</c:v>
                </c:pt>
                <c:pt idx="35">
                  <c:v>-1.1898629057137747e-05</c:v>
                </c:pt>
                <c:pt idx="36">
                  <c:v>0.000236191919942769</c:v>
                </c:pt>
                <c:pt idx="37">
                  <c:v>0.000491175842054173</c:v>
                </c:pt>
                <c:pt idx="38">
                  <c:v>0.0007323730179425823</c:v>
                </c:pt>
                <c:pt idx="39">
                  <c:v>0.000770738449270068</c:v>
                </c:pt>
                <c:pt idx="40">
                  <c:v>0.0007817784787005639</c:v>
                </c:pt>
                <c:pt idx="41">
                  <c:v>0.0007711105850935678</c:v>
                </c:pt>
                <c:pt idx="42">
                  <c:v>0.0007528227674815746</c:v>
                </c:pt>
                <c:pt idx="43">
                  <c:v>0.0007449193114205776</c:v>
                </c:pt>
                <c:pt idx="44">
                  <c:v>0.0007791203656755648</c:v>
                </c:pt>
                <c:pt idx="45">
                  <c:v>0.0007554277182460736</c:v>
                </c:pt>
                <c:pt idx="46">
                  <c:v>0.0007746724565470663</c:v>
                </c:pt>
                <c:pt idx="47">
                  <c:v>0.000775842026278066</c:v>
                </c:pt>
                <c:pt idx="48">
                  <c:v>0.0007470103603335768</c:v>
                </c:pt>
                <c:pt idx="49">
                  <c:v>0.0007599110688815719</c:v>
                </c:pt>
                <c:pt idx="50">
                  <c:v>0.0007439801114850779</c:v>
                </c:pt>
                <c:pt idx="51">
                  <c:v>0.0008510679443346971</c:v>
                </c:pt>
                <c:pt idx="52">
                  <c:v>0.0048484636415622034</c:v>
                </c:pt>
                <c:pt idx="53">
                  <c:v>0.000851067944334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355722570718428</c:v>
                </c:pt>
                <c:pt idx="1">
                  <c:v>3.6168915719696972</c:v>
                </c:pt>
                <c:pt idx="2">
                  <c:v>4.033541986535963</c:v>
                </c:pt>
                <c:pt idx="3">
                  <c:v>4.2320813131608155</c:v>
                </c:pt>
                <c:pt idx="4">
                  <c:v>4.256339167099867</c:v>
                </c:pt>
                <c:pt idx="5">
                  <c:v>4.031369150779896</c:v>
                </c:pt>
                <c:pt idx="6">
                  <c:v>3.816223358419027</c:v>
                </c:pt>
                <c:pt idx="7">
                  <c:v>3.6154629263050735</c:v>
                </c:pt>
                <c:pt idx="8">
                  <c:v>3.737879986439146</c:v>
                </c:pt>
                <c:pt idx="9">
                  <c:v>3.5430527268612804</c:v>
                </c:pt>
                <c:pt idx="10">
                  <c:v>3.618336048536599</c:v>
                </c:pt>
                <c:pt idx="11">
                  <c:v>3.5337286475900336</c:v>
                </c:pt>
                <c:pt idx="12">
                  <c:v>3.743651821406452</c:v>
                </c:pt>
                <c:pt idx="13">
                  <c:v>3.6431463915238256</c:v>
                </c:pt>
                <c:pt idx="14">
                  <c:v>3.5065035700448335</c:v>
                </c:pt>
                <c:pt idx="15">
                  <c:v>3.6268376257322874</c:v>
                </c:pt>
                <c:pt idx="16">
                  <c:v>3.470484871780792</c:v>
                </c:pt>
                <c:pt idx="17">
                  <c:v>3.5504587155963305</c:v>
                </c:pt>
                <c:pt idx="18">
                  <c:v>3.505879742622587</c:v>
                </c:pt>
                <c:pt idx="19">
                  <c:v>3.664793590742183</c:v>
                </c:pt>
                <c:pt idx="20">
                  <c:v>3.5073312148073814</c:v>
                </c:pt>
                <c:pt idx="21">
                  <c:v>3.4573068777170883</c:v>
                </c:pt>
                <c:pt idx="22">
                  <c:v>3.400055975370837</c:v>
                </c:pt>
                <c:pt idx="23">
                  <c:v>3.4634296250768286</c:v>
                </c:pt>
                <c:pt idx="24">
                  <c:v>3.4906262241871397</c:v>
                </c:pt>
                <c:pt idx="25">
                  <c:v>3.3835555057690154</c:v>
                </c:pt>
                <c:pt idx="26">
                  <c:v>3.4306295195919057</c:v>
                </c:pt>
                <c:pt idx="27">
                  <c:v>3.386566830576665</c:v>
                </c:pt>
                <c:pt idx="28">
                  <c:v>3.3662887629209735</c:v>
                </c:pt>
                <c:pt idx="29">
                  <c:v>3.314273025037473</c:v>
                </c:pt>
                <c:pt idx="30">
                  <c:v>3.295450767440572</c:v>
                </c:pt>
                <c:pt idx="31">
                  <c:v>3.3050146190765157</c:v>
                </c:pt>
                <c:pt idx="32">
                  <c:v>3.220783496104466</c:v>
                </c:pt>
                <c:pt idx="33">
                  <c:v>3.2962596803427253</c:v>
                </c:pt>
                <c:pt idx="34">
                  <c:v>3.3090969272356157</c:v>
                </c:pt>
                <c:pt idx="35">
                  <c:v>3.2559133814547474</c:v>
                </c:pt>
                <c:pt idx="36">
                  <c:v>3.155222383234868</c:v>
                </c:pt>
                <c:pt idx="37">
                  <c:v>3.2279510022271714</c:v>
                </c:pt>
                <c:pt idx="38">
                  <c:v>3.2930946869177347</c:v>
                </c:pt>
                <c:pt idx="39">
                  <c:v>3.7965478022345622</c:v>
                </c:pt>
                <c:pt idx="40">
                  <c:v>4.6036496907688775</c:v>
                </c:pt>
                <c:pt idx="41">
                  <c:v>4.857679074131998</c:v>
                </c:pt>
                <c:pt idx="42">
                  <c:v>4.99208735559424</c:v>
                </c:pt>
                <c:pt idx="43">
                  <c:v>4.973330148873497</c:v>
                </c:pt>
                <c:pt idx="44">
                  <c:v>5.204354838709678</c:v>
                </c:pt>
                <c:pt idx="45">
                  <c:v>5.259700283515594</c:v>
                </c:pt>
                <c:pt idx="46">
                  <c:v>5.955823641728867</c:v>
                </c:pt>
                <c:pt idx="47">
                  <c:v>5.7463578947368426</c:v>
                </c:pt>
                <c:pt idx="48">
                  <c:v>5.88961038961039</c:v>
                </c:pt>
                <c:pt idx="49">
                  <c:v>6.100407879892388</c:v>
                </c:pt>
                <c:pt idx="50">
                  <c:v>6.385066145787089</c:v>
                </c:pt>
                <c:pt idx="51">
                  <c:v>6.12658757850663</c:v>
                </c:pt>
                <c:pt idx="52">
                  <c:v>1.6495072614107884</c:v>
                </c:pt>
                <c:pt idx="53">
                  <c:v>0.9148502994011977</c:v>
                </c:pt>
                <c:pt idx="54">
                  <c:v>0.6328198494825964</c:v>
                </c:pt>
                <c:pt idx="55">
                  <c:v>0.5765876499853673</c:v>
                </c:pt>
                <c:pt idx="56">
                  <c:v>0.5392904992136075</c:v>
                </c:pt>
                <c:pt idx="57">
                  <c:v>0.6221349806593153</c:v>
                </c:pt>
                <c:pt idx="58">
                  <c:v>0.5944466847168616</c:v>
                </c:pt>
                <c:pt idx="59">
                  <c:v>0.6033509903270383</c:v>
                </c:pt>
                <c:pt idx="60">
                  <c:v>0.6386487260234756</c:v>
                </c:pt>
                <c:pt idx="61">
                  <c:v>0.7570579494799405</c:v>
                </c:pt>
                <c:pt idx="62">
                  <c:v>0.6751457642620327</c:v>
                </c:pt>
                <c:pt idx="63">
                  <c:v>0.667656633731224</c:v>
                </c:pt>
                <c:pt idx="64">
                  <c:v>0.6961288112367249</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7518809849521204</c:v>
                </c:pt>
                <c:pt idx="1">
                  <c:v>0.6657223796033995</c:v>
                </c:pt>
                <c:pt idx="2">
                  <c:v>0.7039451309375354</c:v>
                </c:pt>
                <c:pt idx="3">
                  <c:v>0.5998529078977144</c:v>
                </c:pt>
                <c:pt idx="4">
                  <c:v>0.7816497072366551</c:v>
                </c:pt>
                <c:pt idx="5">
                  <c:v>0.9939286327968383</c:v>
                </c:pt>
                <c:pt idx="6">
                  <c:v>0.8018327605956471</c:v>
                </c:pt>
                <c:pt idx="7">
                  <c:v>0.5094793516238043</c:v>
                </c:pt>
                <c:pt idx="8">
                  <c:v>1.203714318468417</c:v>
                </c:pt>
                <c:pt idx="9">
                  <c:v>0.917279411764706</c:v>
                </c:pt>
                <c:pt idx="10">
                  <c:v>0.5849045757645436</c:v>
                </c:pt>
                <c:pt idx="11">
                  <c:v>0.9221092538342237</c:v>
                </c:pt>
                <c:pt idx="12">
                  <c:v>0.9119641420526376</c:v>
                </c:pt>
                <c:pt idx="13">
                  <c:v>0.4499942588127225</c:v>
                </c:pt>
                <c:pt idx="14">
                  <c:v>0.620394812349363</c:v>
                </c:pt>
                <c:pt idx="15">
                  <c:v>0.45219638242894056</c:v>
                </c:pt>
                <c:pt idx="16">
                  <c:v>0.5521736633549647</c:v>
                </c:pt>
                <c:pt idx="17">
                  <c:v>1.1495574203931487</c:v>
                </c:pt>
                <c:pt idx="18">
                  <c:v>0.9034669119760822</c:v>
                </c:pt>
                <c:pt idx="19">
                  <c:v>0.5035971223021583</c:v>
                </c:pt>
                <c:pt idx="20">
                  <c:v>1.1094109526000921</c:v>
                </c:pt>
                <c:pt idx="21">
                  <c:v>0.5759041695461875</c:v>
                </c:pt>
                <c:pt idx="22">
                  <c:v>0.8767573173542291</c:v>
                </c:pt>
                <c:pt idx="23">
                  <c:v>1.796137215335832</c:v>
                </c:pt>
                <c:pt idx="24">
                  <c:v>0.6170237272517852</c:v>
                </c:pt>
                <c:pt idx="25">
                  <c:v>1.5837364662520157</c:v>
                </c:pt>
                <c:pt idx="26">
                  <c:v>1.5006903175460713</c:v>
                </c:pt>
                <c:pt idx="27">
                  <c:v>1.5676565439398011</c:v>
                </c:pt>
                <c:pt idx="28">
                  <c:v>1.0237943938431124</c:v>
                </c:pt>
                <c:pt idx="29">
                  <c:v>1.481833910034602</c:v>
                </c:pt>
                <c:pt idx="30">
                  <c:v>2.7424308907415536</c:v>
                </c:pt>
                <c:pt idx="31">
                  <c:v>1.774023466508243</c:v>
                </c:pt>
                <c:pt idx="32">
                  <c:v>1.4529334669647678</c:v>
                </c:pt>
                <c:pt idx="33">
                  <c:v>0.7882084023015685</c:v>
                </c:pt>
                <c:pt idx="34">
                  <c:v>0.4224400135180804</c:v>
                </c:pt>
                <c:pt idx="35">
                  <c:v>1.1194351158184794</c:v>
                </c:pt>
                <c:pt idx="36">
                  <c:v>2.3763421932758315</c:v>
                </c:pt>
                <c:pt idx="37">
                  <c:v>5.441625032868787</c:v>
                </c:pt>
                <c:pt idx="38">
                  <c:v>3.715714092690177</c:v>
                </c:pt>
                <c:pt idx="39">
                  <c:v>3.5008267499540695</c:v>
                </c:pt>
                <c:pt idx="40">
                  <c:v>3.41133412042503</c:v>
                </c:pt>
                <c:pt idx="41">
                  <c:v>3.3109078276980086</c:v>
                </c:pt>
                <c:pt idx="42">
                  <c:v>3.21670390101392</c:v>
                </c:pt>
                <c:pt idx="43">
                  <c:v>3.1722567051990205</c:v>
                </c:pt>
                <c:pt idx="44">
                  <c:v>3.258593396653098</c:v>
                </c:pt>
                <c:pt idx="45">
                  <c:v>3.194020536676689</c:v>
                </c:pt>
                <c:pt idx="46">
                  <c:v>3.2576634877384194</c:v>
                </c:pt>
                <c:pt idx="47">
                  <c:v>3.2604846489983546</c:v>
                </c:pt>
                <c:pt idx="48">
                  <c:v>3.207284844306561</c:v>
                </c:pt>
                <c:pt idx="49">
                  <c:v>3.2169510807736064</c:v>
                </c:pt>
                <c:pt idx="50">
                  <c:v>3.167074489273317</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22.836340027226775</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22.836340027226775</c:v>
                </c:pt>
                <c:pt idx="1">
                  <c:v>22.836340027226775</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4.515717950164972</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4.515717950164972</c:v>
                </c:pt>
                <c:pt idx="1">
                  <c:v>4.515717950164972</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4.515717950164971</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4.515717950164971</c:v>
                </c:pt>
                <c:pt idx="1">
                  <c:v>4.515717950164971</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7518809849521204</c:v>
                </c:pt>
                <c:pt idx="1">
                  <c:v>0.6657223796033995</c:v>
                </c:pt>
                <c:pt idx="2">
                  <c:v>0.7039451309375354</c:v>
                </c:pt>
                <c:pt idx="3">
                  <c:v>0.5998529078977144</c:v>
                </c:pt>
                <c:pt idx="4">
                  <c:v>0.7816497072366551</c:v>
                </c:pt>
                <c:pt idx="5">
                  <c:v>0.9939286327968383</c:v>
                </c:pt>
                <c:pt idx="6">
                  <c:v>0.8018327605956471</c:v>
                </c:pt>
                <c:pt idx="7">
                  <c:v>0.5094793516238043</c:v>
                </c:pt>
                <c:pt idx="8">
                  <c:v>1.203714318468417</c:v>
                </c:pt>
                <c:pt idx="9">
                  <c:v>0.917279411764706</c:v>
                </c:pt>
                <c:pt idx="10">
                  <c:v>0.5849045757645436</c:v>
                </c:pt>
                <c:pt idx="11">
                  <c:v>0.9221092538342237</c:v>
                </c:pt>
                <c:pt idx="12">
                  <c:v>0.9119641420526376</c:v>
                </c:pt>
                <c:pt idx="13">
                  <c:v>0.4499942588127225</c:v>
                </c:pt>
                <c:pt idx="14">
                  <c:v>0.620394812349363</c:v>
                </c:pt>
                <c:pt idx="15">
                  <c:v>0.45219638242894056</c:v>
                </c:pt>
                <c:pt idx="16">
                  <c:v>0.5521736633549647</c:v>
                </c:pt>
                <c:pt idx="17">
                  <c:v>1.1495574203931487</c:v>
                </c:pt>
                <c:pt idx="18">
                  <c:v>0.9034669119760822</c:v>
                </c:pt>
                <c:pt idx="19">
                  <c:v>0.5035971223021583</c:v>
                </c:pt>
                <c:pt idx="20">
                  <c:v>1.1094109526000921</c:v>
                </c:pt>
                <c:pt idx="21">
                  <c:v>0.5759041695461875</c:v>
                </c:pt>
                <c:pt idx="22">
                  <c:v>0.8767573173542291</c:v>
                </c:pt>
                <c:pt idx="23">
                  <c:v>1.796137215335832</c:v>
                </c:pt>
                <c:pt idx="24">
                  <c:v>0.6170237272517852</c:v>
                </c:pt>
                <c:pt idx="25">
                  <c:v>1.5837364662520157</c:v>
                </c:pt>
                <c:pt idx="26">
                  <c:v>1.5006903175460713</c:v>
                </c:pt>
                <c:pt idx="27">
                  <c:v>1.5676565439398011</c:v>
                </c:pt>
                <c:pt idx="28">
                  <c:v>1.0237943938431124</c:v>
                </c:pt>
                <c:pt idx="29">
                  <c:v>1.481833910034602</c:v>
                </c:pt>
                <c:pt idx="30">
                  <c:v>2.7424308907415536</c:v>
                </c:pt>
                <c:pt idx="31">
                  <c:v>1.774023466508243</c:v>
                </c:pt>
                <c:pt idx="32">
                  <c:v>1.4529334669647678</c:v>
                </c:pt>
                <c:pt idx="33">
                  <c:v>0.7882084023015685</c:v>
                </c:pt>
                <c:pt idx="34">
                  <c:v>0.4224400135180804</c:v>
                </c:pt>
                <c:pt idx="35">
                  <c:v>1.1194351158184794</c:v>
                </c:pt>
                <c:pt idx="36">
                  <c:v>2.3763421932758315</c:v>
                </c:pt>
                <c:pt idx="37">
                  <c:v>5.441625032868787</c:v>
                </c:pt>
                <c:pt idx="38">
                  <c:v>3.715714092690177</c:v>
                </c:pt>
                <c:pt idx="39">
                  <c:v>3.5008267499540695</c:v>
                </c:pt>
                <c:pt idx="40">
                  <c:v>3.41133412042503</c:v>
                </c:pt>
                <c:pt idx="41">
                  <c:v>3.3109078276980086</c:v>
                </c:pt>
                <c:pt idx="42">
                  <c:v>3.21670390101392</c:v>
                </c:pt>
                <c:pt idx="43">
                  <c:v>3.1722567051990205</c:v>
                </c:pt>
                <c:pt idx="44">
                  <c:v>3.258593396653098</c:v>
                </c:pt>
                <c:pt idx="45">
                  <c:v>3.194020536676689</c:v>
                </c:pt>
                <c:pt idx="46">
                  <c:v>3.2576634877384194</c:v>
                </c:pt>
                <c:pt idx="47">
                  <c:v>3.2604846489983546</c:v>
                </c:pt>
                <c:pt idx="48">
                  <c:v>3.207284844306561</c:v>
                </c:pt>
                <c:pt idx="49">
                  <c:v>3.2169510807736064</c:v>
                </c:pt>
                <c:pt idx="50">
                  <c:v>3.167074489273317</c:v>
                </c:pt>
                <c:pt idx="51">
                  <c:v>4.515717950164972</c:v>
                </c:pt>
                <c:pt idx="52">
                  <c:v>22.836340027226775</c:v>
                </c:pt>
                <c:pt idx="53">
                  <c:v>4.515717950164971</c:v>
                </c:pt>
              </c:numCache>
            </c:numRef>
          </c:xVal>
          <c:yVal>
            <c:numRef>
              <c:f>Sheet1!$B$146:$B$199</c:f>
              <c:numCache>
                <c:formatCode>General</c:formatCode>
                <c:ptCount val="54"/>
                <c:pt idx="0">
                  <c:v>2.983241933331881e-05</c:v>
                </c:pt>
                <c:pt idx="1">
                  <c:v>1.1033383096917444e-05</c:v>
                </c:pt>
                <c:pt idx="2">
                  <c:v>1.937324519748297e-05</c:v>
                </c:pt>
                <c:pt idx="3">
                  <c:v>-3.3387458443058862e-06</c:v>
                </c:pt>
                <c:pt idx="4">
                  <c:v>3.632768799131646e-05</c:v>
                </c:pt>
                <c:pt idx="5">
                  <c:v>8.264504883621874e-05</c:v>
                </c:pt>
                <c:pt idx="6">
                  <c:v>4.073144951834246e-05</c:v>
                </c:pt>
                <c:pt idx="7">
                  <c:v>-2.305744663257155e-05</c:v>
                </c:pt>
                <c:pt idx="8">
                  <c:v>0.00012841840706150786</c:v>
                </c:pt>
                <c:pt idx="9">
                  <c:v>6.592087511215572e-05</c:v>
                </c:pt>
                <c:pt idx="10">
                  <c:v>-6.600338070733596e-06</c:v>
                </c:pt>
                <c:pt idx="11">
                  <c:v>6.69747034060733e-05</c:v>
                </c:pt>
                <c:pt idx="12">
                  <c:v>6.476113085307687e-05</c:v>
                </c:pt>
                <c:pt idx="13">
                  <c:v>-3.603656126372345e-05</c:v>
                </c:pt>
                <c:pt idx="14">
                  <c:v>1.1433137780411738e-06</c:v>
                </c:pt>
                <c:pt idx="15">
                  <c:v>-3.5556077608135436e-05</c:v>
                </c:pt>
                <c:pt idx="16">
                  <c:v>-1.3741930091028381e-05</c:v>
                </c:pt>
                <c:pt idx="17">
                  <c:v>0.0001166018568138874</c:v>
                </c:pt>
                <c:pt idx="18">
                  <c:v>6.290711133324285e-05</c:v>
                </c:pt>
                <c:pt idx="19">
                  <c:v>-2.434089640199251e-05</c:v>
                </c:pt>
                <c:pt idx="20">
                  <c:v>0.00010784225700664196</c:v>
                </c:pt>
                <c:pt idx="21">
                  <c:v>-8.56414611934798e-06</c:v>
                </c:pt>
                <c:pt idx="22">
                  <c:v>5.7079316940291205e-05</c:v>
                </c:pt>
                <c:pt idx="23">
                  <c:v>0.0002576797786959286</c:v>
                </c:pt>
                <c:pt idx="24">
                  <c:v>4.0777319391892253e-07</c:v>
                </c:pt>
                <c:pt idx="25">
                  <c:v>0.00021133583704895846</c:v>
                </c:pt>
                <c:pt idx="26">
                  <c:v>0.00019321591098356045</c:v>
                </c:pt>
                <c:pt idx="27">
                  <c:v>0.00020782734197754502</c:v>
                </c:pt>
                <c:pt idx="28">
                  <c:v>8.916149048315803e-05</c:v>
                </c:pt>
                <c:pt idx="29">
                  <c:v>0.0001891016117018843</c:v>
                </c:pt>
                <c:pt idx="30">
                  <c:v>0.00046415258570375113</c:v>
                </c:pt>
                <c:pt idx="31">
                  <c:v>0.00025285475670480033</c:v>
                </c:pt>
                <c:pt idx="32">
                  <c:v>0.00018279579379409786</c:v>
                </c:pt>
                <c:pt idx="33">
                  <c:v>3.7758736528949795e-05</c:v>
                </c:pt>
                <c:pt idx="34">
                  <c:v>-4.204865087060749e-05</c:v>
                </c:pt>
                <c:pt idx="35">
                  <c:v>0.00011002943966610294</c:v>
                </c:pt>
                <c:pt idx="36">
                  <c:v>0.0003842753098177243</c:v>
                </c:pt>
                <c:pt idx="37">
                  <c:v>0.001053092579353329</c:v>
                </c:pt>
                <c:pt idx="38">
                  <c:v>0.0006765142657432315</c:v>
                </c:pt>
                <c:pt idx="39">
                  <c:v>0.0006296277716259023</c:v>
                </c:pt>
                <c:pt idx="40">
                  <c:v>0.000610101281165687</c:v>
                </c:pt>
                <c:pt idx="41">
                  <c:v>0.0005881891632939838</c:v>
                </c:pt>
                <c:pt idx="42">
                  <c:v>0.0005676347099787553</c:v>
                </c:pt>
                <c:pt idx="43">
                  <c:v>0.0005579367298251905</c:v>
                </c:pt>
                <c:pt idx="44">
                  <c:v>0.0005767746228552256</c:v>
                </c:pt>
                <c:pt idx="45">
                  <c:v>0.0005626854029836714</c:v>
                </c:pt>
                <c:pt idx="46">
                  <c:v>0.0005765717250563018</c:v>
                </c:pt>
                <c:pt idx="47">
                  <c:v>0.0005771872771829825</c:v>
                </c:pt>
                <c:pt idx="48">
                  <c:v>0.0005655795561419716</c:v>
                </c:pt>
                <c:pt idx="49">
                  <c:v>0.00056768864238911</c:v>
                </c:pt>
                <c:pt idx="50">
                  <c:v>0.0005568060167109536</c:v>
                </c:pt>
                <c:pt idx="51">
                  <c:v>0.000851067944334697</c:v>
                </c:pt>
                <c:pt idx="52">
                  <c:v>0.0048484636415622034</c:v>
                </c:pt>
                <c:pt idx="53">
                  <c:v>0.000851067944334696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7.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5.6705</c:v>
                </c:pt>
                <c:pt idx="1">
                  <c:v>6.1111</c:v>
                </c:pt>
                <c:pt idx="2">
                  <c:v>6.8304</c:v>
                </c:pt>
                <c:pt idx="3">
                  <c:v>7.2449</c:v>
                </c:pt>
                <c:pt idx="4">
                  <c:v>7.369</c:v>
                </c:pt>
                <c:pt idx="5">
                  <c:v>6.9783</c:v>
                </c:pt>
                <c:pt idx="6">
                  <c:v>6.6429</c:v>
                </c:pt>
                <c:pt idx="7">
                  <c:v>6.3925</c:v>
                </c:pt>
                <c:pt idx="8">
                  <c:v>6.6153</c:v>
                </c:pt>
                <c:pt idx="9">
                  <c:v>6.2627</c:v>
                </c:pt>
                <c:pt idx="10">
                  <c:v>6.441</c:v>
                </c:pt>
                <c:pt idx="11">
                  <c:v>6.4957</c:v>
                </c:pt>
                <c:pt idx="12">
                  <c:v>6.6491</c:v>
                </c:pt>
                <c:pt idx="13">
                  <c:v>6.5675</c:v>
                </c:pt>
                <c:pt idx="14">
                  <c:v>6.3352</c:v>
                </c:pt>
                <c:pt idx="15">
                  <c:v>6.5624</c:v>
                </c:pt>
                <c:pt idx="16">
                  <c:v>6.3201</c:v>
                </c:pt>
                <c:pt idx="17">
                  <c:v>6.4242</c:v>
                </c:pt>
                <c:pt idx="18">
                  <c:v>6.3204</c:v>
                </c:pt>
                <c:pt idx="19">
                  <c:v>6.5871</c:v>
                </c:pt>
                <c:pt idx="20">
                  <c:v>6.2911</c:v>
                </c:pt>
                <c:pt idx="21">
                  <c:v>6.2031</c:v>
                </c:pt>
                <c:pt idx="22">
                  <c:v>6.0742</c:v>
                </c:pt>
                <c:pt idx="23">
                  <c:v>6.1985</c:v>
                </c:pt>
                <c:pt idx="24">
                  <c:v>6.2374</c:v>
                </c:pt>
                <c:pt idx="25">
                  <c:v>6.041</c:v>
                </c:pt>
                <c:pt idx="26">
                  <c:v>6.1199</c:v>
                </c:pt>
                <c:pt idx="27">
                  <c:v>6.0606</c:v>
                </c:pt>
                <c:pt idx="28">
                  <c:v>6.0573</c:v>
                </c:pt>
                <c:pt idx="29">
                  <c:v>5.97</c:v>
                </c:pt>
                <c:pt idx="30">
                  <c:v>5.9473</c:v>
                </c:pt>
                <c:pt idx="31">
                  <c:v>5.991</c:v>
                </c:pt>
                <c:pt idx="32">
                  <c:v>5.8702</c:v>
                </c:pt>
                <c:pt idx="33">
                  <c:v>6.0015</c:v>
                </c:pt>
                <c:pt idx="34">
                  <c:v>5.9984</c:v>
                </c:pt>
                <c:pt idx="35">
                  <c:v>5.8639</c:v>
                </c:pt>
                <c:pt idx="36">
                  <c:v>5.6611</c:v>
                </c:pt>
                <c:pt idx="37">
                  <c:v>5.7974</c:v>
                </c:pt>
                <c:pt idx="38">
                  <c:v>5.8324</c:v>
                </c:pt>
                <c:pt idx="39">
                  <c:v>5.6747</c:v>
                </c:pt>
                <c:pt idx="40">
                  <c:v>6.0294</c:v>
                </c:pt>
                <c:pt idx="41">
                  <c:v>6.212</c:v>
                </c:pt>
                <c:pt idx="42">
                  <c:v>6.309</c:v>
                </c:pt>
                <c:pt idx="43">
                  <c:v>6.247</c:v>
                </c:pt>
                <c:pt idx="44">
                  <c:v>6.4534</c:v>
                </c:pt>
                <c:pt idx="45">
                  <c:v>6.4931</c:v>
                </c:pt>
                <c:pt idx="46">
                  <c:v>6.8623</c:v>
                </c:pt>
                <c:pt idx="47">
                  <c:v>6.8238</c:v>
                </c:pt>
                <c:pt idx="48">
                  <c:v>6.9839</c:v>
                </c:pt>
                <c:pt idx="49">
                  <c:v>7.0295</c:v>
                </c:pt>
                <c:pt idx="50">
                  <c:v>7.1915</c:v>
                </c:pt>
                <c:pt idx="51">
                  <c:v>4.3897</c:v>
                </c:pt>
                <c:pt idx="52">
                  <c:v>2.5442</c:v>
                </c:pt>
                <c:pt idx="53">
                  <c:v>1.5278</c:v>
                </c:pt>
                <c:pt idx="54">
                  <c:v>1.0763</c:v>
                </c:pt>
                <c:pt idx="55">
                  <c:v>0.9851</c:v>
                </c:pt>
                <c:pt idx="56">
                  <c:v>0.9258</c:v>
                </c:pt>
                <c:pt idx="57">
                  <c:v>1.0776</c:v>
                </c:pt>
                <c:pt idx="58">
                  <c:v>1.0319</c:v>
                </c:pt>
                <c:pt idx="59">
                  <c:v>1.0479</c:v>
                </c:pt>
                <c:pt idx="60">
                  <c:v>1.1154</c:v>
                </c:pt>
                <c:pt idx="61">
                  <c:v>1.3247</c:v>
                </c:pt>
                <c:pt idx="62">
                  <c:v>1.1811</c:v>
                </c:pt>
                <c:pt idx="63">
                  <c:v>1.169</c:v>
                </c:pt>
                <c:pt idx="64">
                  <c:v>1.2192</c:v>
                </c:pt>
              </c:numCache>
            </c:numRef>
          </c:xVal>
          <c:yVal>
            <c:numRef>
              <c:f>Sheet1!$B$2:$B$66</c:f>
              <c:numCache>
                <c:formatCode>General</c:formatCode>
                <c:ptCount val="65"/>
                <c:pt idx="0">
                  <c:v>8.444628904141466e-05</c:v>
                </c:pt>
                <c:pt idx="1">
                  <c:v>0.00016999329967929918</c:v>
                </c:pt>
                <c:pt idx="2">
                  <c:v>0.000384961901635564</c:v>
                </c:pt>
                <c:pt idx="3">
                  <c:v>0.0006672115887413425</c:v>
                </c:pt>
                <c:pt idx="4">
                  <c:v>0.0007009777139692301</c:v>
                </c:pt>
                <c:pt idx="5">
                  <c:v>0.0008207123270625544</c:v>
                </c:pt>
                <c:pt idx="6">
                  <c:v>0.0007939601838022591</c:v>
                </c:pt>
                <c:pt idx="7">
                  <c:v>0.0008764638943076047</c:v>
                </c:pt>
                <c:pt idx="8">
                  <c:v>0.0009492831516200634</c:v>
                </c:pt>
                <c:pt idx="9">
                  <c:v>0.0008837141913520197</c:v>
                </c:pt>
                <c:pt idx="10">
                  <c:v>0.0008650650246672235</c:v>
                </c:pt>
                <c:pt idx="11">
                  <c:v>0.0008537001355225917</c:v>
                </c:pt>
                <c:pt idx="12">
                  <c:v>0.0009497802492765008</c:v>
                </c:pt>
                <c:pt idx="13">
                  <c:v>0.0010619902054928643</c:v>
                </c:pt>
                <c:pt idx="14">
                  <c:v>0.0012043544124329553</c:v>
                </c:pt>
                <c:pt idx="15">
                  <c:v>0.0011015683697353034</c:v>
                </c:pt>
                <c:pt idx="16">
                  <c:v>0.0011079335618643586</c:v>
                </c:pt>
                <c:pt idx="17">
                  <c:v>0.0011032511761445575</c:v>
                </c:pt>
                <c:pt idx="18">
                  <c:v>0.0010945897863255867</c:v>
                </c:pt>
                <c:pt idx="19">
                  <c:v>0.0010709514981063675</c:v>
                </c:pt>
                <c:pt idx="20">
                  <c:v>0.0011638364781361963</c:v>
                </c:pt>
                <c:pt idx="21">
                  <c:v>0.0010957341761682843</c:v>
                </c:pt>
                <c:pt idx="22">
                  <c:v>0.001171136640602692</c:v>
                </c:pt>
                <c:pt idx="23">
                  <c:v>0.0011734697366531494</c:v>
                </c:pt>
                <c:pt idx="24">
                  <c:v>0.0012444734944686477</c:v>
                </c:pt>
                <c:pt idx="25">
                  <c:v>0.0011485716845853805</c:v>
                </c:pt>
                <c:pt idx="26">
                  <c:v>0.0011731921670479323</c:v>
                </c:pt>
                <c:pt idx="27">
                  <c:v>0.0011600190902908566</c:v>
                </c:pt>
                <c:pt idx="28">
                  <c:v>0.0012233936741595384</c:v>
                </c:pt>
                <c:pt idx="29">
                  <c:v>0.0012019842927137342</c:v>
                </c:pt>
                <c:pt idx="30">
                  <c:v>0.001173760444613978</c:v>
                </c:pt>
                <c:pt idx="31">
                  <c:v>0.0011575593346633136</c:v>
                </c:pt>
                <c:pt idx="32">
                  <c:v>0.0012334578858889606</c:v>
                </c:pt>
                <c:pt idx="33">
                  <c:v>0.001210687261445057</c:v>
                </c:pt>
                <c:pt idx="34">
                  <c:v>0.0011479913498941053</c:v>
                </c:pt>
                <c:pt idx="35">
                  <c:v>0.0011196465469020212</c:v>
                </c:pt>
                <c:pt idx="36">
                  <c:v>0.0012087526384367954</c:v>
                </c:pt>
                <c:pt idx="37">
                  <c:v>0.0011996885996445117</c:v>
                </c:pt>
                <c:pt idx="38">
                  <c:v>0.0011632695274620799</c:v>
                </c:pt>
                <c:pt idx="39">
                  <c:v>0.0011500085455704136</c:v>
                </c:pt>
                <c:pt idx="40">
                  <c:v>0.0014801906635016917</c:v>
                </c:pt>
                <c:pt idx="41">
                  <c:v>0.0017072050834034396</c:v>
                </c:pt>
                <c:pt idx="42">
                  <c:v>0.0017378579430356903</c:v>
                </c:pt>
                <c:pt idx="43">
                  <c:v>0.0017957225870783619</c:v>
                </c:pt>
                <c:pt idx="44">
                  <c:v>0.0019214256028504061</c:v>
                </c:pt>
                <c:pt idx="45">
                  <c:v>0.0021733785542278083</c:v>
                </c:pt>
                <c:pt idx="46">
                  <c:v>0.0031055427319109322</c:v>
                </c:pt>
                <c:pt idx="47">
                  <c:v>0.0028669316381706323</c:v>
                </c:pt>
                <c:pt idx="48">
                  <c:v>0.003661421356277935</c:v>
                </c:pt>
                <c:pt idx="49">
                  <c:v>0.005103188843950312</c:v>
                </c:pt>
                <c:pt idx="50">
                  <c:v>0.009205867272099653</c:v>
                </c:pt>
                <c:pt idx="51">
                  <c:v>0.030806480632331493</c:v>
                </c:pt>
                <c:pt idx="52">
                  <c:v>0.01201827797078164</c:v>
                </c:pt>
                <c:pt idx="53">
                  <c:v>0.0038035391845184945</c:v>
                </c:pt>
                <c:pt idx="54">
                  <c:v>0.003138905538374615</c:v>
                </c:pt>
                <c:pt idx="55">
                  <c:v>0.0023805880052372936</c:v>
                </c:pt>
                <c:pt idx="56">
                  <c:v>0.001145800483548828</c:v>
                </c:pt>
                <c:pt idx="57">
                  <c:v>0.0007420884029332318</c:v>
                </c:pt>
                <c:pt idx="58">
                  <c:v>0.0004612170438342641</c:v>
                </c:pt>
                <c:pt idx="59">
                  <c:v>0.0003996583742116328</c:v>
                </c:pt>
                <c:pt idx="60">
                  <c:v>0.0003279577691303443</c:v>
                </c:pt>
                <c:pt idx="61">
                  <c:v>0.00015878962154683906</c:v>
                </c:pt>
                <c:pt idx="62">
                  <c:v>0.00017640846665284006</c:v>
                </c:pt>
                <c:pt idx="63">
                  <c:v>0.0002022426786946487</c:v>
                </c:pt>
                <c:pt idx="64">
                  <c:v>0.00013723081376932627</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numCache>
            </c:numRef>
          </c:xVal>
          <c:yVal>
            <c:numRef>
              <c:f>Sheet1!$B$69:$B$119</c:f>
              <c:numCache>
                <c:formatCode>General</c:formatCode>
                <c:ptCount val="51"/>
                <c:pt idx="0">
                  <c:v>4.3560889550437715e-05</c:v>
                </c:pt>
                <c:pt idx="1">
                  <c:v>7.566449982455293e-05</c:v>
                </c:pt>
                <c:pt idx="2">
                  <c:v>5.85035913656248e-05</c:v>
                </c:pt>
                <c:pt idx="3">
                  <c:v>5.578196944013657e-05</c:v>
                </c:pt>
                <c:pt idx="4">
                  <c:v>5.818977960166368e-05</c:v>
                </c:pt>
                <c:pt idx="5">
                  <c:v>3.158223759224452e-05</c:v>
                </c:pt>
                <c:pt idx="6">
                  <c:v>3.812021591290293e-05</c:v>
                </c:pt>
                <c:pt idx="7">
                  <c:v>8.725606762620786e-05</c:v>
                </c:pt>
                <c:pt idx="8">
                  <c:v>2.3378972204272367e-05</c:v>
                </c:pt>
                <c:pt idx="9">
                  <c:v>2.7165554777588592e-05</c:v>
                </c:pt>
                <c:pt idx="10">
                  <c:v>5.2220565008190385e-05</c:v>
                </c:pt>
                <c:pt idx="11">
                  <c:v>1.7396662679168458e-05</c:v>
                </c:pt>
                <c:pt idx="12">
                  <c:v>2.1443821848457444e-05</c:v>
                </c:pt>
                <c:pt idx="13">
                  <c:v>3.145778344206815e-05</c:v>
                </c:pt>
                <c:pt idx="14">
                  <c:v>3.420910174757659e-05</c:v>
                </c:pt>
                <c:pt idx="15">
                  <c:v>3.686309782728902e-05</c:v>
                </c:pt>
                <c:pt idx="16">
                  <c:v>1.2161444106002889e-05</c:v>
                </c:pt>
                <c:pt idx="17">
                  <c:v>8.03484982196112e-06</c:v>
                </c:pt>
                <c:pt idx="18">
                  <c:v>1.2404227183420864e-05</c:v>
                </c:pt>
                <c:pt idx="19">
                  <c:v>3.5129551198027475e-06</c:v>
                </c:pt>
                <c:pt idx="20">
                  <c:v>1.2400887017732826e-05</c:v>
                </c:pt>
                <c:pt idx="21">
                  <c:v>3.6192495214673525e-06</c:v>
                </c:pt>
                <c:pt idx="22">
                  <c:v>2.0436832859583853e-05</c:v>
                </c:pt>
                <c:pt idx="23">
                  <c:v>1.2412503783426634e-05</c:v>
                </c:pt>
                <c:pt idx="24">
                  <c:v>6.60979098896637e-06</c:v>
                </c:pt>
                <c:pt idx="25">
                  <c:v>1.3654014109473008e-05</c:v>
                </c:pt>
                <c:pt idx="26">
                  <c:v>3.492583498940001e-06</c:v>
                </c:pt>
                <c:pt idx="27">
                  <c:v>5.581556305344619e-06</c:v>
                </c:pt>
                <c:pt idx="28">
                  <c:v>8.990073161215386e-06</c:v>
                </c:pt>
                <c:pt idx="29">
                  <c:v>8.214414471972874e-06</c:v>
                </c:pt>
                <c:pt idx="30">
                  <c:v>1.7837410222084676e-06</c:v>
                </c:pt>
                <c:pt idx="31">
                  <c:v>7.735414446316224e-06</c:v>
                </c:pt>
                <c:pt idx="32">
                  <c:v>1.1340341082566406e-05</c:v>
                </c:pt>
                <c:pt idx="33">
                  <c:v>3.4526884574466938e-06</c:v>
                </c:pt>
                <c:pt idx="34">
                  <c:v>1.7266587038922771e-06</c:v>
                </c:pt>
                <c:pt idx="35">
                  <c:v>1.4838694120723905e-05</c:v>
                </c:pt>
                <c:pt idx="36">
                  <c:v>6.4194370282115e-06</c:v>
                </c:pt>
                <c:pt idx="37">
                  <c:v>9.793080372626709e-06</c:v>
                </c:pt>
                <c:pt idx="38">
                  <c:v>3.1792790939236255e-05</c:v>
                </c:pt>
                <c:pt idx="39">
                  <c:v>9.757285020354501e-05</c:v>
                </c:pt>
                <c:pt idx="40">
                  <c:v>0.00044655082425839644</c:v>
                </c:pt>
                <c:pt idx="41">
                  <c:v>0.0008100036969658149</c:v>
                </c:pt>
                <c:pt idx="42">
                  <c:v>0.0009144009268296772</c:v>
                </c:pt>
                <c:pt idx="43">
                  <c:v>0.0010150976624503404</c:v>
                </c:pt>
                <c:pt idx="44">
                  <c:v>0.0010879452918938933</c:v>
                </c:pt>
                <c:pt idx="45">
                  <c:v>0.001122759917885234</c:v>
                </c:pt>
                <c:pt idx="46">
                  <c:v>0.0011124996686220677</c:v>
                </c:pt>
                <c:pt idx="47">
                  <c:v>0.0010339725233604199</c:v>
                </c:pt>
                <c:pt idx="48">
                  <c:v>0.0011273215598327838</c:v>
                </c:pt>
                <c:pt idx="49">
                  <c:v>0.001072867980514292</c:v>
                </c:pt>
                <c:pt idx="50">
                  <c:v>0.0011910975825953581</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28.727514696940904</c:v>
                </c:pt>
              </c:numCache>
            </c:numRef>
          </c:xVal>
          <c:yVal>
            <c:numRef>
              <c:f>Sheet1!$B$122:$B$123</c:f>
              <c:numCache>
                <c:formatCode>General</c:formatCode>
                <c:ptCount val="2"/>
                <c:pt idx="0">
                  <c:v>0.0048484636415622034</c:v>
                </c:pt>
                <c:pt idx="1">
                  <c:v>0.0048484636415622034</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28.727514696940904</c:v>
                </c:pt>
                <c:pt idx="1">
                  <c:v>28.727514696940904</c:v>
                </c:pt>
              </c:numCache>
            </c:numRef>
          </c:xVal>
          <c:yVal>
            <c:numRef>
              <c:f>Sheet1!$B$126:$B$127</c:f>
              <c:numCache>
                <c:formatCode>General</c:formatCode>
                <c:ptCount val="2"/>
                <c:pt idx="0">
                  <c:v>0.0048484636415622034</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6.169807445784737</c:v>
                </c:pt>
              </c:numCache>
            </c:numRef>
          </c:xVal>
          <c:yVal>
            <c:numRef>
              <c:f>Sheet1!$B$130:$B$131</c:f>
              <c:numCache>
                <c:formatCode>General</c:formatCode>
                <c:ptCount val="2"/>
                <c:pt idx="0">
                  <c:v>0.000851067944334697</c:v>
                </c:pt>
                <c:pt idx="1">
                  <c:v>0.000851067944334697</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6.169807445784737</c:v>
                </c:pt>
                <c:pt idx="1">
                  <c:v>6.169807445784737</c:v>
                </c:pt>
              </c:numCache>
            </c:numRef>
          </c:xVal>
          <c:yVal>
            <c:numRef>
              <c:f>Sheet1!$B$134:$B$135</c:f>
              <c:numCache>
                <c:formatCode>General</c:formatCode>
                <c:ptCount val="2"/>
                <c:pt idx="0">
                  <c:v>0.00085106794433469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6.169807445784735</c:v>
                </c:pt>
              </c:numCache>
            </c:numRef>
          </c:xVal>
          <c:yVal>
            <c:numRef>
              <c:f>Sheet1!$B$138:$B$139</c:f>
              <c:numCache>
                <c:formatCode>General</c:formatCode>
                <c:ptCount val="2"/>
                <c:pt idx="0">
                  <c:v>0.0008510679443346968</c:v>
                </c:pt>
                <c:pt idx="1">
                  <c:v>0.0008510679443346968</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6.169807445784735</c:v>
                </c:pt>
                <c:pt idx="1">
                  <c:v>6.169807445784735</c:v>
                </c:pt>
              </c:numCache>
            </c:numRef>
          </c:xVal>
          <c:yVal>
            <c:numRef>
              <c:f>Sheet1!$B$142:$B$143</c:f>
              <c:numCache>
                <c:formatCode>General</c:formatCode>
                <c:ptCount val="2"/>
                <c:pt idx="0">
                  <c:v>0.000851067944334696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3191</c:v>
                </c:pt>
                <c:pt idx="1">
                  <c:v>1.175</c:v>
                </c:pt>
                <c:pt idx="2">
                  <c:v>1.2419</c:v>
                </c:pt>
                <c:pt idx="3">
                  <c:v>1.0603</c:v>
                </c:pt>
                <c:pt idx="4">
                  <c:v>1.375</c:v>
                </c:pt>
                <c:pt idx="5">
                  <c:v>1.7353</c:v>
                </c:pt>
                <c:pt idx="6">
                  <c:v>1.4</c:v>
                </c:pt>
                <c:pt idx="7">
                  <c:v>0.8895</c:v>
                </c:pt>
                <c:pt idx="8">
                  <c:v>2.1</c:v>
                </c:pt>
                <c:pt idx="9">
                  <c:v>1.5968</c:v>
                </c:pt>
                <c:pt idx="10">
                  <c:v>1.0175</c:v>
                </c:pt>
                <c:pt idx="11">
                  <c:v>1.6053</c:v>
                </c:pt>
                <c:pt idx="12">
                  <c:v>1.587</c:v>
                </c:pt>
                <c:pt idx="13">
                  <c:v>0.7838</c:v>
                </c:pt>
                <c:pt idx="14">
                  <c:v>1.0811</c:v>
                </c:pt>
                <c:pt idx="15">
                  <c:v>0.7875</c:v>
                </c:pt>
                <c:pt idx="16">
                  <c:v>0.9615</c:v>
                </c:pt>
                <c:pt idx="17">
                  <c:v>2.0</c:v>
                </c:pt>
                <c:pt idx="18">
                  <c:v>1.5714</c:v>
                </c:pt>
                <c:pt idx="19">
                  <c:v>0.875</c:v>
                </c:pt>
                <c:pt idx="20">
                  <c:v>1.9286</c:v>
                </c:pt>
                <c:pt idx="21">
                  <c:v>1.0</c:v>
                </c:pt>
                <c:pt idx="22">
                  <c:v>1.5217</c:v>
                </c:pt>
                <c:pt idx="23">
                  <c:v>3.1154</c:v>
                </c:pt>
                <c:pt idx="24">
                  <c:v>1.0714</c:v>
                </c:pt>
                <c:pt idx="25">
                  <c:v>2.75</c:v>
                </c:pt>
                <c:pt idx="26">
                  <c:v>2.5</c:v>
                </c:pt>
                <c:pt idx="27">
                  <c:v>2.3333</c:v>
                </c:pt>
                <c:pt idx="28">
                  <c:v>1.45</c:v>
                </c:pt>
                <c:pt idx="29">
                  <c:v>2.0556</c:v>
                </c:pt>
                <c:pt idx="30">
                  <c:v>3.75</c:v>
                </c:pt>
                <c:pt idx="31">
                  <c:v>2.3889</c:v>
                </c:pt>
                <c:pt idx="32">
                  <c:v>1.8846</c:v>
                </c:pt>
                <c:pt idx="33">
                  <c:v>1.0</c:v>
                </c:pt>
                <c:pt idx="34">
                  <c:v>0.5</c:v>
                </c:pt>
                <c:pt idx="35">
                  <c:v>1.3</c:v>
                </c:pt>
                <c:pt idx="36">
                  <c:v>2.7</c:v>
                </c:pt>
                <c:pt idx="37">
                  <c:v>4.1389</c:v>
                </c:pt>
                <c:pt idx="38">
                  <c:v>5.5</c:v>
                </c:pt>
                <c:pt idx="39">
                  <c:v>5.7165</c:v>
                </c:pt>
                <c:pt idx="40">
                  <c:v>5.7788</c:v>
                </c:pt>
                <c:pt idx="41">
                  <c:v>5.7186</c:v>
                </c:pt>
                <c:pt idx="42">
                  <c:v>5.6154</c:v>
                </c:pt>
                <c:pt idx="43">
                  <c:v>5.5708</c:v>
                </c:pt>
                <c:pt idx="44">
                  <c:v>5.7638</c:v>
                </c:pt>
                <c:pt idx="45">
                  <c:v>5.6301</c:v>
                </c:pt>
                <c:pt idx="46">
                  <c:v>5.7387</c:v>
                </c:pt>
                <c:pt idx="47">
                  <c:v>5.7453</c:v>
                </c:pt>
                <c:pt idx="48">
                  <c:v>5.5826</c:v>
                </c:pt>
                <c:pt idx="49">
                  <c:v>5.6554</c:v>
                </c:pt>
                <c:pt idx="50">
                  <c:v>5.5655</c:v>
                </c:pt>
                <c:pt idx="51">
                  <c:v>6.169807445784737</c:v>
                </c:pt>
                <c:pt idx="52">
                  <c:v>28.727514696940904</c:v>
                </c:pt>
                <c:pt idx="53">
                  <c:v>6.169807445784735</c:v>
                </c:pt>
              </c:numCache>
            </c:numRef>
          </c:xVal>
          <c:yVal>
            <c:numRef>
              <c:f>Sheet1!$B$146:$B$199</c:f>
              <c:numCache>
                <c:formatCode>General</c:formatCode>
                <c:ptCount val="54"/>
                <c:pt idx="0">
                  <c:v>-8.513965138639017e-06</c:v>
                </c:pt>
                <c:pt idx="1">
                  <c:v>-3.40495709321294e-05</c:v>
                </c:pt>
                <c:pt idx="2">
                  <c:v>-2.2194386840633865e-05</c:v>
                </c:pt>
                <c:pt idx="3">
                  <c:v>-5.4375275196621764e-05</c:v>
                </c:pt>
                <c:pt idx="4">
                  <c:v>1.3919360678572607e-06</c:v>
                </c:pt>
                <c:pt idx="5">
                  <c:v>6.523981092833325e-05</c:v>
                </c:pt>
                <c:pt idx="6">
                  <c:v>5.8221244428555965e-06</c:v>
                </c:pt>
                <c:pt idx="7">
                  <c:v>-8.46423221746104e-05</c:v>
                </c:pt>
                <c:pt idx="8">
                  <c:v>0.00012986739894280895</c:v>
                </c:pt>
                <c:pt idx="9">
                  <c:v>4.0696567330842466e-05</c:v>
                </c:pt>
                <c:pt idx="10">
                  <c:v>-6.19597576946189e-05</c:v>
                </c:pt>
                <c:pt idx="11">
                  <c:v>4.22028313783419e-05</c:v>
                </c:pt>
                <c:pt idx="12">
                  <c:v>3.89599334878431e-05</c:v>
                </c:pt>
                <c:pt idx="13">
                  <c:v>-0.00010337315862410333</c:v>
                </c:pt>
                <c:pt idx="14">
                  <c:v>-5.068935846862317e-05</c:v>
                </c:pt>
                <c:pt idx="15">
                  <c:v>-0.00010271749074460359</c:v>
                </c:pt>
                <c:pt idx="16">
                  <c:v>-7.188337965461519e-05</c:v>
                </c:pt>
                <c:pt idx="17">
                  <c:v>0.0001121466454428156</c:v>
                </c:pt>
                <c:pt idx="18">
                  <c:v>3.6195495941844166e-05</c:v>
                </c:pt>
                <c:pt idx="19">
                  <c:v>-8.721183143210943e-05</c:v>
                </c:pt>
                <c:pt idx="20">
                  <c:v>9.949402744382038e-05</c:v>
                </c:pt>
                <c:pt idx="21">
                  <c:v>-6.506088955711775e-05</c:v>
                </c:pt>
                <c:pt idx="22">
                  <c:v>2.7388281452347474e-05</c:v>
                </c:pt>
                <c:pt idx="23">
                  <c:v>0.00030980392998174134</c:v>
                </c:pt>
                <c:pt idx="24">
                  <c:v>-5.240827155812252e-05</c:v>
                </c:pt>
                <c:pt idx="25">
                  <c:v>0.0002450522966927656</c:v>
                </c:pt>
                <c:pt idx="26">
                  <c:v>0.00020075041294278226</c:v>
                </c:pt>
                <c:pt idx="27">
                  <c:v>0.00017120991685829335</c:v>
                </c:pt>
                <c:pt idx="28">
                  <c:v>1.4682501192852268e-05</c:v>
                </c:pt>
                <c:pt idx="29">
                  <c:v>0.00012199938438881193</c:v>
                </c:pt>
                <c:pt idx="30">
                  <c:v>0.000422259831692699</c:v>
                </c:pt>
                <c:pt idx="31">
                  <c:v>0.00018106265580428968</c:v>
                </c:pt>
                <c:pt idx="32">
                  <c:v>9.16968959038233e-05</c:v>
                </c:pt>
                <c:pt idx="33">
                  <c:v>-6.506088955711775e-05</c:v>
                </c:pt>
                <c:pt idx="34">
                  <c:v>-0.00015366465705708444</c:v>
                </c:pt>
                <c:pt idx="35">
                  <c:v>-1.1898629057137747e-05</c:v>
                </c:pt>
                <c:pt idx="36">
                  <c:v>0.000236191919942769</c:v>
                </c:pt>
                <c:pt idx="37">
                  <c:v>0.000491175842054173</c:v>
                </c:pt>
                <c:pt idx="38">
                  <c:v>0.0007323730179425823</c:v>
                </c:pt>
                <c:pt idx="39">
                  <c:v>0.000770738449270068</c:v>
                </c:pt>
                <c:pt idx="40">
                  <c:v>0.0007817784787005639</c:v>
                </c:pt>
                <c:pt idx="41">
                  <c:v>0.0007711105850935678</c:v>
                </c:pt>
                <c:pt idx="42">
                  <c:v>0.0007528227674815746</c:v>
                </c:pt>
                <c:pt idx="43">
                  <c:v>0.0007449193114205776</c:v>
                </c:pt>
                <c:pt idx="44">
                  <c:v>0.0007791203656755648</c:v>
                </c:pt>
                <c:pt idx="45">
                  <c:v>0.0007554277182460736</c:v>
                </c:pt>
                <c:pt idx="46">
                  <c:v>0.0007746724565470663</c:v>
                </c:pt>
                <c:pt idx="47">
                  <c:v>0.000775842026278066</c:v>
                </c:pt>
                <c:pt idx="48">
                  <c:v>0.0007470103603335768</c:v>
                </c:pt>
                <c:pt idx="49">
                  <c:v>0.0007599110688815719</c:v>
                </c:pt>
                <c:pt idx="50">
                  <c:v>0.0007439801114850779</c:v>
                </c:pt>
                <c:pt idx="51">
                  <c:v>0.0008510679443346971</c:v>
                </c:pt>
                <c:pt idx="52">
                  <c:v>0.0048484636415622034</c:v>
                </c:pt>
                <c:pt idx="53">
                  <c:v>0.000851067944334696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34.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3696777675879779"/>
          <c:min val="1.3813269631138218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8231437178805598</c:v>
                </c:pt>
                <c:pt idx="1">
                  <c:v>1.8680113234253362</c:v>
                </c:pt>
                <c:pt idx="2">
                  <c:v>1.8760403754205772</c:v>
                </c:pt>
                <c:pt idx="3">
                  <c:v>1.7070221927790659</c:v>
                </c:pt>
                <c:pt idx="4">
                  <c:v>1.7112608277189607</c:v>
                </c:pt>
                <c:pt idx="5">
                  <c:v>1.8011149368748975</c:v>
                </c:pt>
                <c:pt idx="6">
                  <c:v>1.7940454768526093</c:v>
                </c:pt>
                <c:pt idx="7">
                  <c:v>1.7870915032679737</c:v>
                </c:pt>
                <c:pt idx="8">
                  <c:v>1.7429802169751116</c:v>
                </c:pt>
                <c:pt idx="9">
                  <c:v>1.6535246806497397</c:v>
                </c:pt>
                <c:pt idx="10">
                  <c:v>1.5903843112446625</c:v>
                </c:pt>
                <c:pt idx="11">
                  <c:v>1.5963969658659922</c:v>
                </c:pt>
                <c:pt idx="12">
                  <c:v>1.6358199559332707</c:v>
                </c:pt>
                <c:pt idx="13">
                  <c:v>1.6568259918775383</c:v>
                </c:pt>
                <c:pt idx="14">
                  <c:v>1.6315297052861375</c:v>
                </c:pt>
                <c:pt idx="15">
                  <c:v>1.6311834690043832</c:v>
                </c:pt>
                <c:pt idx="16">
                  <c:v>1.6877470355731226</c:v>
                </c:pt>
                <c:pt idx="17">
                  <c:v>1.742709843724827</c:v>
                </c:pt>
                <c:pt idx="18">
                  <c:v>1.7864109770209953</c:v>
                </c:pt>
                <c:pt idx="19">
                  <c:v>1.6857003416300633</c:v>
                </c:pt>
                <c:pt idx="20">
                  <c:v>1.6724704336399474</c:v>
                </c:pt>
                <c:pt idx="21">
                  <c:v>1.5899917965545527</c:v>
                </c:pt>
                <c:pt idx="22">
                  <c:v>1.4661508704061896</c:v>
                </c:pt>
                <c:pt idx="23">
                  <c:v>1.4498893455580144</c:v>
                </c:pt>
                <c:pt idx="24">
                  <c:v>1.4567239476588367</c:v>
                </c:pt>
                <c:pt idx="25">
                  <c:v>1.5871819038642787</c:v>
                </c:pt>
                <c:pt idx="26">
                  <c:v>1.6864949258391884</c:v>
                </c:pt>
                <c:pt idx="27">
                  <c:v>1.7107450980392158</c:v>
                </c:pt>
                <c:pt idx="28">
                  <c:v>1.7407174323473882</c:v>
                </c:pt>
                <c:pt idx="29">
                  <c:v>1.7982099267697313</c:v>
                </c:pt>
                <c:pt idx="30">
                  <c:v>1.9739564752051375</c:v>
                </c:pt>
                <c:pt idx="31">
                  <c:v>1.9812298891669646</c:v>
                </c:pt>
                <c:pt idx="32">
                  <c:v>1.969740121039516</c:v>
                </c:pt>
                <c:pt idx="33">
                  <c:v>1.8009588361712678</c:v>
                </c:pt>
                <c:pt idx="34">
                  <c:v>1.74832</c:v>
                </c:pt>
                <c:pt idx="35">
                  <c:v>1.8013157894736842</c:v>
                </c:pt>
                <c:pt idx="36">
                  <c:v>1.808423467715503</c:v>
                </c:pt>
                <c:pt idx="37">
                  <c:v>1.8251759698805041</c:v>
                </c:pt>
                <c:pt idx="38">
                  <c:v>1.7765006385696043</c:v>
                </c:pt>
                <c:pt idx="39">
                  <c:v>1.7546754675467549</c:v>
                </c:pt>
                <c:pt idx="40">
                  <c:v>1.7558596822400503</c:v>
                </c:pt>
                <c:pt idx="41">
                  <c:v>1.7147571900047147</c:v>
                </c:pt>
                <c:pt idx="42">
                  <c:v>1.6532182103610673</c:v>
                </c:pt>
                <c:pt idx="43">
                  <c:v>1.647294910900626</c:v>
                </c:pt>
                <c:pt idx="44">
                  <c:v>1.6292369198678949</c:v>
                </c:pt>
                <c:pt idx="45">
                  <c:v>1.620288344623936</c:v>
                </c:pt>
                <c:pt idx="46">
                  <c:v>1.6158997252747254</c:v>
                </c:pt>
                <c:pt idx="47">
                  <c:v>1.6668753913587977</c:v>
                </c:pt>
                <c:pt idx="48">
                  <c:v>1.6773635362592416</c:v>
                </c:pt>
                <c:pt idx="49">
                  <c:v>1.6949072618673373</c:v>
                </c:pt>
                <c:pt idx="50">
                  <c:v>1.7011638880150988</c:v>
                </c:pt>
                <c:pt idx="51">
                  <c:v>1.6315526709935098</c:v>
                </c:pt>
                <c:pt idx="52">
                  <c:v>1.5811387900355869</c:v>
                </c:pt>
                <c:pt idx="53">
                  <c:v>1.5806739169192372</c:v>
                </c:pt>
                <c:pt idx="54">
                  <c:v>1.5774073417272567</c:v>
                </c:pt>
                <c:pt idx="55">
                  <c:v>1.6230972865651885</c:v>
                </c:pt>
                <c:pt idx="56">
                  <c:v>1.7621970920840064</c:v>
                </c:pt>
                <c:pt idx="57">
                  <c:v>1.9261168384879725</c:v>
                </c:pt>
                <c:pt idx="58">
                  <c:v>1.9357512953367877</c:v>
                </c:pt>
                <c:pt idx="59">
                  <c:v>1.938715277777778</c:v>
                </c:pt>
                <c:pt idx="60">
                  <c:v>1.8059874297055905</c:v>
                </c:pt>
                <c:pt idx="61">
                  <c:v>1.690151870987944</c:v>
                </c:pt>
                <c:pt idx="62">
                  <c:v>1.6649051911718993</c:v>
                </c:pt>
                <c:pt idx="63">
                  <c:v>1.67103211724353</c:v>
                </c:pt>
                <c:pt idx="64">
                  <c:v>1.6708781781313367</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698171944245196</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698171944245196</c:v>
                </c:pt>
                <c:pt idx="1">
                  <c:v>1.2698171944245196</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446837046336968</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446837046336968</c:v>
                </c:pt>
                <c:pt idx="1">
                  <c:v>1.3446837046336968</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446837046336968</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446837046336968</c:v>
                </c:pt>
                <c:pt idx="1">
                  <c:v>1.3446837046336968</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pt idx="52">
                  <c:v>1.3446837046336968</c:v>
                </c:pt>
                <c:pt idx="53">
                  <c:v>1.2698171944245196</c:v>
                </c:pt>
                <c:pt idx="54">
                  <c:v>1.3446837046336968</c:v>
                </c:pt>
              </c:numCache>
            </c:numRef>
          </c:xVal>
          <c:yVal>
            <c:numRef>
              <c:f>Sheet1!$B$147:$B$201</c:f>
              <c:numCache>
                <c:formatCode>General</c:formatCode>
                <c:ptCount val="55"/>
                <c:pt idx="0">
                  <c:v>0.25604526200849304</c:v>
                </c:pt>
                <c:pt idx="1">
                  <c:v>0.2880578492072042</c:v>
                </c:pt>
                <c:pt idx="2">
                  <c:v>0.2863260034441944</c:v>
                </c:pt>
                <c:pt idx="3">
                  <c:v>0.2671088846820375</c:v>
                </c:pt>
                <c:pt idx="4">
                  <c:v>0.24838860689542763</c:v>
                </c:pt>
                <c:pt idx="5">
                  <c:v>0.23619221064468754</c:v>
                </c:pt>
                <c:pt idx="6">
                  <c:v>0.25108408109127256</c:v>
                </c:pt>
                <c:pt idx="7">
                  <c:v>0.26093238033575195</c:v>
                </c:pt>
                <c:pt idx="8">
                  <c:v>0.2964557138232353</c:v>
                </c:pt>
                <c:pt idx="9">
                  <c:v>0.35984988439484816</c:v>
                </c:pt>
                <c:pt idx="10">
                  <c:v>0.37444886648170556</c:v>
                </c:pt>
                <c:pt idx="11">
                  <c:v>0.37532386404864054</c:v>
                </c:pt>
                <c:pt idx="12">
                  <c:v>0.3737973739496467</c:v>
                </c:pt>
                <c:pt idx="13">
                  <c:v>0.34365247083760536</c:v>
                </c:pt>
                <c:pt idx="14">
                  <c:v>0.2904688444232866</c:v>
                </c:pt>
                <c:pt idx="15">
                  <c:v>0.2806145226189681</c:v>
                </c:pt>
                <c:pt idx="16">
                  <c:v>0.2455444788501251</c:v>
                </c:pt>
                <c:pt idx="17">
                  <c:v>0.23386047120503772</c:v>
                </c:pt>
                <c:pt idx="18">
                  <c:v>0.2760341666364989</c:v>
                </c:pt>
                <c:pt idx="19">
                  <c:v>0.26386631400356064</c:v>
                </c:pt>
                <c:pt idx="20">
                  <c:v>0.28338861174761004</c:v>
                </c:pt>
                <c:pt idx="21">
                  <c:v>0.27833770477294656</c:v>
                </c:pt>
                <c:pt idx="22">
                  <c:v>0.2621971887551606</c:v>
                </c:pt>
                <c:pt idx="23">
                  <c:v>0.2599427417600086</c:v>
                </c:pt>
                <c:pt idx="24">
                  <c:v>0.25946874839714457</c:v>
                </c:pt>
                <c:pt idx="25">
                  <c:v>0.2735490164059062</c:v>
                </c:pt>
                <c:pt idx="26">
                  <c:v>0.274662308990986</c:v>
                </c:pt>
                <c:pt idx="27">
                  <c:v>0.28136230896286746</c:v>
                </c:pt>
                <c:pt idx="28">
                  <c:v>0.3011880976412054</c:v>
                </c:pt>
                <c:pt idx="29">
                  <c:v>0.3176594829419824</c:v>
                </c:pt>
                <c:pt idx="30">
                  <c:v>0.33228656515723537</c:v>
                </c:pt>
                <c:pt idx="31">
                  <c:v>0.3295246173194498</c:v>
                </c:pt>
                <c:pt idx="32">
                  <c:v>0.31757831589180563</c:v>
                </c:pt>
                <c:pt idx="33">
                  <c:v>0.3173876973867766</c:v>
                </c:pt>
                <c:pt idx="34">
                  <c:v>0.3195096517562022</c:v>
                </c:pt>
                <c:pt idx="35">
                  <c:v>0.30334036764388805</c:v>
                </c:pt>
                <c:pt idx="36">
                  <c:v>0.28764084272051</c:v>
                </c:pt>
                <c:pt idx="37">
                  <c:v>0.3040104123271524</c:v>
                </c:pt>
                <c:pt idx="38">
                  <c:v>0.3128983494098098</c:v>
                </c:pt>
                <c:pt idx="39">
                  <c:v>0.3393847879452776</c:v>
                </c:pt>
                <c:pt idx="40">
                  <c:v>0.4019508787180812</c:v>
                </c:pt>
                <c:pt idx="41">
                  <c:v>0.4010863800142121</c:v>
                </c:pt>
                <c:pt idx="42">
                  <c:v>0.399535567245334</c:v>
                </c:pt>
                <c:pt idx="43">
                  <c:v>0.33516365541286686</c:v>
                </c:pt>
                <c:pt idx="44">
                  <c:v>0.22587019730625002</c:v>
                </c:pt>
                <c:pt idx="45">
                  <c:v>0.22521346825703625</c:v>
                </c:pt>
                <c:pt idx="46">
                  <c:v>0.2293213910298323</c:v>
                </c:pt>
                <c:pt idx="47">
                  <c:v>0.26687445644544777</c:v>
                </c:pt>
                <c:pt idx="48">
                  <c:v>0.2975964289459905</c:v>
                </c:pt>
                <c:pt idx="49">
                  <c:v>0.34219290819875736</c:v>
                </c:pt>
                <c:pt idx="50">
                  <c:v>0.3853243708931411</c:v>
                </c:pt>
                <c:pt idx="51">
                  <c:v>0.38145847143257205</c:v>
                </c:pt>
                <c:pt idx="52">
                  <c:v>0.33316764028386625</c:v>
                </c:pt>
                <c:pt idx="53">
                  <c:v>0.3562989981725756</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0.8082651902602105</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0.8082651902602105</c:v>
                </c:pt>
                <c:pt idx="1">
                  <c:v>0.8082651902602105</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0.8573344294665443</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0.8573344294665443</c:v>
                </c:pt>
                <c:pt idx="1">
                  <c:v>0.8573344294665443</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0.8573344294665443</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0.8573344294665443</c:v>
                </c:pt>
                <c:pt idx="1">
                  <c:v>0.8573344294665443</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082651902602105</c:v>
                </c:pt>
                <c:pt idx="54">
                  <c:v>0.8573344294665443</c:v>
                </c:pt>
              </c:numCache>
            </c:numRef>
          </c:xVal>
          <c:yVal>
            <c:numRef>
              <c:f>Sheet1!$B$147:$B$201</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562989981725756</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6763787721123826</c:v>
                </c:pt>
                <c:pt idx="1">
                  <c:v>2.7466181061394384</c:v>
                </c:pt>
                <c:pt idx="2">
                  <c:v>2.7559833506763782</c:v>
                </c:pt>
                <c:pt idx="3">
                  <c:v>2.681321540062435</c:v>
                </c:pt>
                <c:pt idx="4">
                  <c:v>2.781747066492829</c:v>
                </c:pt>
                <c:pt idx="5">
                  <c:v>2.857700312174818</c:v>
                </c:pt>
                <c:pt idx="6">
                  <c:v>2.950497713209578</c:v>
                </c:pt>
                <c:pt idx="7">
                  <c:v>2.9809212319433085</c:v>
                </c:pt>
                <c:pt idx="8">
                  <c:v>2.9558982683982684</c:v>
                </c:pt>
                <c:pt idx="9">
                  <c:v>2.796</c:v>
                </c:pt>
                <c:pt idx="10">
                  <c:v>2.6160249739854318</c:v>
                </c:pt>
                <c:pt idx="11">
                  <c:v>2.627991675338189</c:v>
                </c:pt>
                <c:pt idx="12">
                  <c:v>2.7039542143600417</c:v>
                </c:pt>
                <c:pt idx="13">
                  <c:v>2.7593652445369403</c:v>
                </c:pt>
                <c:pt idx="14">
                  <c:v>2.796098343132015</c:v>
                </c:pt>
                <c:pt idx="15">
                  <c:v>2.712129099427382</c:v>
                </c:pt>
                <c:pt idx="16">
                  <c:v>2.796698978255174</c:v>
                </c:pt>
                <c:pt idx="17">
                  <c:v>2.813995837669095</c:v>
                </c:pt>
                <c:pt idx="18">
                  <c:v>2.8177314211212514</c:v>
                </c:pt>
                <c:pt idx="19">
                  <c:v>2.6956295525494274</c:v>
                </c:pt>
                <c:pt idx="20">
                  <c:v>2.648803329864724</c:v>
                </c:pt>
                <c:pt idx="21">
                  <c:v>2.5223841749089018</c:v>
                </c:pt>
                <c:pt idx="22">
                  <c:v>2.366285119667013</c:v>
                </c:pt>
                <c:pt idx="23">
                  <c:v>2.394152962672931</c:v>
                </c:pt>
                <c:pt idx="24">
                  <c:v>2.586062132661629</c:v>
                </c:pt>
                <c:pt idx="25">
                  <c:v>2.8786324786324786</c:v>
                </c:pt>
                <c:pt idx="26">
                  <c:v>3.0827625570776256</c:v>
                </c:pt>
                <c:pt idx="27">
                  <c:v>3.005235602094241</c:v>
                </c:pt>
                <c:pt idx="28">
                  <c:v>2.882751433038041</c:v>
                </c:pt>
                <c:pt idx="29">
                  <c:v>2.8746097814776275</c:v>
                </c:pt>
                <c:pt idx="30">
                  <c:v>2.885528031290743</c:v>
                </c:pt>
                <c:pt idx="31">
                  <c:v>2.883194588969823</c:v>
                </c:pt>
                <c:pt idx="32">
                  <c:v>2.878772112382934</c:v>
                </c:pt>
                <c:pt idx="33">
                  <c:v>2.8495945592466647</c:v>
                </c:pt>
                <c:pt idx="34">
                  <c:v>2.84261186264308</c:v>
                </c:pt>
                <c:pt idx="35">
                  <c:v>2.849115504682622</c:v>
                </c:pt>
                <c:pt idx="36">
                  <c:v>2.8707075962539017</c:v>
                </c:pt>
                <c:pt idx="37">
                  <c:v>2.900624349635796</c:v>
                </c:pt>
                <c:pt idx="38">
                  <c:v>2.8949011446409987</c:v>
                </c:pt>
                <c:pt idx="39">
                  <c:v>2.9045265348595213</c:v>
                </c:pt>
                <c:pt idx="40">
                  <c:v>2.903746097814776</c:v>
                </c:pt>
                <c:pt idx="41">
                  <c:v>2.8384495317377727</c:v>
                </c:pt>
                <c:pt idx="42">
                  <c:v>2.74102030192608</c:v>
                </c:pt>
                <c:pt idx="43">
                  <c:v>2.6826143790849675</c:v>
                </c:pt>
                <c:pt idx="44">
                  <c:v>2.4383454734651404</c:v>
                </c:pt>
                <c:pt idx="45">
                  <c:v>2.4266389177939645</c:v>
                </c:pt>
                <c:pt idx="46">
                  <c:v>2.4642576590730556</c:v>
                </c:pt>
                <c:pt idx="47">
                  <c:v>2.7700312174817894</c:v>
                </c:pt>
                <c:pt idx="48">
                  <c:v>2.773933402705515</c:v>
                </c:pt>
                <c:pt idx="49">
                  <c:v>2.8051508844953172</c:v>
                </c:pt>
                <c:pt idx="50">
                  <c:v>2.8152004164497657</c:v>
                </c:pt>
                <c:pt idx="51">
                  <c:v>2.554455445544555</c:v>
                </c:pt>
                <c:pt idx="52">
                  <c:v>2.331671477302545</c:v>
                </c:pt>
                <c:pt idx="53">
                  <c:v>2.3076522644456015</c:v>
                </c:pt>
                <c:pt idx="54">
                  <c:v>2.3152004164497657</c:v>
                </c:pt>
                <c:pt idx="55">
                  <c:v>2.558018252933507</c:v>
                </c:pt>
                <c:pt idx="56">
                  <c:v>2.915018706574025</c:v>
                </c:pt>
                <c:pt idx="57">
                  <c:v>2.9192708333333335</c:v>
                </c:pt>
                <c:pt idx="58">
                  <c:v>2.9448239621650028</c:v>
                </c:pt>
                <c:pt idx="59">
                  <c:v>2.9194771241830066</c:v>
                </c:pt>
                <c:pt idx="60">
                  <c:v>2.8673844537815127</c:v>
                </c:pt>
                <c:pt idx="61">
                  <c:v>2.8437829293993677</c:v>
                </c:pt>
                <c:pt idx="62">
                  <c:v>2.796136778908901</c:v>
                </c:pt>
                <c:pt idx="63">
                  <c:v>2.799164272656046</c:v>
                </c:pt>
                <c:pt idx="64">
                  <c:v>2.791036998436686</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950038337310111</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950038337310111</c:v>
                </c:pt>
                <c:pt idx="1">
                  <c:v>1.950038337310111</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081742462065514</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081742462065514</c:v>
                </c:pt>
                <c:pt idx="1">
                  <c:v>2.081742462065514</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081742462065514</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081742462065514</c:v>
                </c:pt>
                <c:pt idx="1">
                  <c:v>2.081742462065514</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pt idx="51">
                  <c:v>2.081742462065514</c:v>
                </c:pt>
                <c:pt idx="52">
                  <c:v>1.950038337310111</c:v>
                </c:pt>
                <c:pt idx="53">
                  <c:v>2.081742462065514</c:v>
                </c:pt>
              </c:numCache>
            </c:numRef>
          </c:xVal>
          <c:yVal>
            <c:numRef>
              <c:f>Sheet1!$B$146:$B$199</c:f>
              <c:numCache>
                <c:formatCode>General</c:formatCode>
                <c:ptCount val="54"/>
                <c:pt idx="0">
                  <c:v>0.28465793065126094</c:v>
                </c:pt>
                <c:pt idx="1">
                  <c:v>0.30341393487887197</c:v>
                </c:pt>
                <c:pt idx="2">
                  <c:v>0.3024084392872756</c:v>
                </c:pt>
                <c:pt idx="3">
                  <c:v>0.28882066102245985</c:v>
                </c:pt>
                <c:pt idx="4">
                  <c:v>0.2832496719338854</c:v>
                </c:pt>
                <c:pt idx="5">
                  <c:v>0.28426275633143927</c:v>
                </c:pt>
                <c:pt idx="6">
                  <c:v>0.2903424921881192</c:v>
                </c:pt>
                <c:pt idx="7">
                  <c:v>0.2946318423997363</c:v>
                </c:pt>
                <c:pt idx="8">
                  <c:v>0.31262644854241706</c:v>
                </c:pt>
                <c:pt idx="9">
                  <c:v>0.3318359808968938</c:v>
                </c:pt>
                <c:pt idx="10">
                  <c:v>0.3310898875427043</c:v>
                </c:pt>
                <c:pt idx="11">
                  <c:v>0.3333943408449479</c:v>
                </c:pt>
                <c:pt idx="12">
                  <c:v>0.33579924789115184</c:v>
                </c:pt>
                <c:pt idx="13">
                  <c:v>0.31962137454824635</c:v>
                </c:pt>
                <c:pt idx="14">
                  <c:v>0.2894234270196821</c:v>
                </c:pt>
                <c:pt idx="15">
                  <c:v>0.2843442406054642</c:v>
                </c:pt>
                <c:pt idx="16">
                  <c:v>0.2838553349613149</c:v>
                </c:pt>
                <c:pt idx="17">
                  <c:v>0.29409519206377555</c:v>
                </c:pt>
                <c:pt idx="18">
                  <c:v>0.31438477629597206</c:v>
                </c:pt>
                <c:pt idx="19">
                  <c:v>0.30857223141553025</c:v>
                </c:pt>
                <c:pt idx="20">
                  <c:v>0.29898424850526867</c:v>
                </c:pt>
                <c:pt idx="21">
                  <c:v>0.2855665047158375</c:v>
                </c:pt>
                <c:pt idx="22">
                  <c:v>0.2852134061950629</c:v>
                </c:pt>
                <c:pt idx="23">
                  <c:v>0.2846701777015637</c:v>
                </c:pt>
                <c:pt idx="24">
                  <c:v>0.28483314624961353</c:v>
                </c:pt>
                <c:pt idx="25">
                  <c:v>0.2848603076742885</c:v>
                </c:pt>
                <c:pt idx="26">
                  <c:v>0.2852134061950629</c:v>
                </c:pt>
                <c:pt idx="27">
                  <c:v>0.28572947326388726</c:v>
                </c:pt>
                <c:pt idx="28">
                  <c:v>0.29732740160009596</c:v>
                </c:pt>
                <c:pt idx="29">
                  <c:v>0.3041177577688365</c:v>
                </c:pt>
                <c:pt idx="30">
                  <c:v>0.3246246333984327</c:v>
                </c:pt>
                <c:pt idx="31">
                  <c:v>0.3355163646930925</c:v>
                </c:pt>
                <c:pt idx="32">
                  <c:v>0.33233847800612193</c:v>
                </c:pt>
                <c:pt idx="33">
                  <c:v>0.33307183647234595</c:v>
                </c:pt>
                <c:pt idx="34">
                  <c:v>0.3338866792125948</c:v>
                </c:pt>
                <c:pt idx="35">
                  <c:v>0.3075944201272316</c:v>
                </c:pt>
                <c:pt idx="36">
                  <c:v>0.2903469154586308</c:v>
                </c:pt>
                <c:pt idx="37">
                  <c:v>0.2973817244494459</c:v>
                </c:pt>
                <c:pt idx="38">
                  <c:v>0.30232510374028904</c:v>
                </c:pt>
                <c:pt idx="39">
                  <c:v>0.3221257823283362</c:v>
                </c:pt>
                <c:pt idx="40">
                  <c:v>0.3707447324965182</c:v>
                </c:pt>
                <c:pt idx="41">
                  <c:v>0.37012001972899405</c:v>
                </c:pt>
                <c:pt idx="42">
                  <c:v>0.35400293087093293</c:v>
                </c:pt>
                <c:pt idx="43">
                  <c:v>0.2594349923080827</c:v>
                </c:pt>
                <c:pt idx="44">
                  <c:v>0.13701461073848303</c:v>
                </c:pt>
                <c:pt idx="45">
                  <c:v>0.24844861386231176</c:v>
                </c:pt>
                <c:pt idx="46">
                  <c:v>0.25403652205666033</c:v>
                </c:pt>
                <c:pt idx="47">
                  <c:v>0.2931173807754769</c:v>
                </c:pt>
                <c:pt idx="48">
                  <c:v>0.31661201311931897</c:v>
                </c:pt>
                <c:pt idx="49">
                  <c:v>0.3426326579579325</c:v>
                </c:pt>
                <c:pt idx="50">
                  <c:v>0.341546200970934</c:v>
                </c:pt>
                <c:pt idx="51">
                  <c:v>0.3425408113531174</c:v>
                </c:pt>
                <c:pt idx="52">
                  <c:v>0.3562989981725756</c:v>
                </c:pt>
                <c:pt idx="53">
                  <c:v>0.34254081135311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bg P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803487560271728</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803487560271728</c:v>
                </c:pt>
                <c:pt idx="1">
                  <c:v>-10.803487560271728</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5024712228992327</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5024712228992327</c:v>
                </c:pt>
                <c:pt idx="1">
                  <c:v>3.5024712228992327</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5024712228992327</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5024712228992327</c:v>
                </c:pt>
                <c:pt idx="1">
                  <c:v>3.5024712228992327</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5024712228992327</c:v>
                </c:pt>
                <c:pt idx="53">
                  <c:v>-10.803487560271728</c:v>
                </c:pt>
                <c:pt idx="54">
                  <c:v>3.5024712228992327</c:v>
                </c:pt>
              </c:numCache>
            </c:numRef>
          </c:xVal>
          <c:yVal>
            <c:numRef>
              <c:f>Sheet1!$B$147:$B$201</c:f>
              <c:numCache>
                <c:formatCode>General</c:formatCode>
                <c:ptCount val="55"/>
                <c:pt idx="0">
                  <c:v>0.0004490870603848956</c:v>
                </c:pt>
                <c:pt idx="1">
                  <c:v>0.0004364746802992534</c:v>
                </c:pt>
                <c:pt idx="2">
                  <c:v>0.00039936447837579333</c:v>
                </c:pt>
                <c:pt idx="3">
                  <c:v>0.00039769252020882074</c:v>
                </c:pt>
                <c:pt idx="4">
                  <c:v>0.00042862374629781624</c:v>
                </c:pt>
                <c:pt idx="5">
                  <c:v>0.0004281875832977363</c:v>
                </c:pt>
                <c:pt idx="6">
                  <c:v>0.00039569343979178797</c:v>
                </c:pt>
                <c:pt idx="7">
                  <c:v>0.0004740937390561397</c:v>
                </c:pt>
                <c:pt idx="8">
                  <c:v>0.0004663518458047223</c:v>
                </c:pt>
                <c:pt idx="9">
                  <c:v>0.0004779465122235116</c:v>
                </c:pt>
                <c:pt idx="10">
                  <c:v>0.0004989550300606908</c:v>
                </c:pt>
                <c:pt idx="11">
                  <c:v>0.0004759837787231525</c:v>
                </c:pt>
                <c:pt idx="12">
                  <c:v>0.0004759837787231525</c:v>
                </c:pt>
                <c:pt idx="13">
                  <c:v>0.0004498866925517083</c:v>
                </c:pt>
                <c:pt idx="14">
                  <c:v>0.000540426861984949</c:v>
                </c:pt>
                <c:pt idx="15">
                  <c:v>0.00047314871922263333</c:v>
                </c:pt>
                <c:pt idx="16">
                  <c:v>0.0005091321667292203</c:v>
                </c:pt>
                <c:pt idx="17">
                  <c:v>0.0005412991879851089</c:v>
                </c:pt>
                <c:pt idx="18">
                  <c:v>0.0005516217123203318</c:v>
                </c:pt>
                <c:pt idx="19">
                  <c:v>0.0005429347992354082</c:v>
                </c:pt>
                <c:pt idx="20">
                  <c:v>0.0005278508288159803</c:v>
                </c:pt>
                <c:pt idx="21">
                  <c:v>0.0005148749795636052</c:v>
                </c:pt>
                <c:pt idx="22">
                  <c:v>0.000507532902395594</c:v>
                </c:pt>
                <c:pt idx="23">
                  <c:v>0.0005865147523267189</c:v>
                </c:pt>
                <c:pt idx="24">
                  <c:v>0.0005237072803152218</c:v>
                </c:pt>
                <c:pt idx="25">
                  <c:v>0.0005466058378194134</c:v>
                </c:pt>
                <c:pt idx="26">
                  <c:v>0.0005449702265691143</c:v>
                </c:pt>
                <c:pt idx="27">
                  <c:v>0.0005994906015790945</c:v>
                </c:pt>
                <c:pt idx="28">
                  <c:v>0.0005599088093218487</c:v>
                </c:pt>
                <c:pt idx="29">
                  <c:v>0.0005777551454084488</c:v>
                </c:pt>
                <c:pt idx="30">
                  <c:v>0.0005866964869100857</c:v>
                </c:pt>
                <c:pt idx="31">
                  <c:v>0.0006180275290824876</c:v>
                </c:pt>
                <c:pt idx="32">
                  <c:v>0.0006478320007546104</c:v>
                </c:pt>
                <c:pt idx="33">
                  <c:v>0.0011233223646749855</c:v>
                </c:pt>
                <c:pt idx="34">
                  <c:v>0.0008404706591232075</c:v>
                </c:pt>
                <c:pt idx="35">
                  <c:v>0.0007227793429349966</c:v>
                </c:pt>
                <c:pt idx="36">
                  <c:v>0.000771084395193839</c:v>
                </c:pt>
                <c:pt idx="37">
                  <c:v>0.0008584623828765011</c:v>
                </c:pt>
                <c:pt idx="38">
                  <c:v>0.0007062414958486358</c:v>
                </c:pt>
                <c:pt idx="39">
                  <c:v>0.0005428257584853882</c:v>
                </c:pt>
                <c:pt idx="40">
                  <c:v>0.0007575996891080374</c:v>
                </c:pt>
                <c:pt idx="41">
                  <c:v>0.0007108575542661476</c:v>
                </c:pt>
                <c:pt idx="42">
                  <c:v>0.0005809900209923745</c:v>
                </c:pt>
                <c:pt idx="43">
                  <c:v>0.0005539479149874241</c:v>
                </c:pt>
                <c:pt idx="44">
                  <c:v>0.0005782640022418753</c:v>
                </c:pt>
                <c:pt idx="45">
                  <c:v>0.0006883951597620357</c:v>
                </c:pt>
                <c:pt idx="46">
                  <c:v>0.000716018816433759</c:v>
                </c:pt>
                <c:pt idx="47">
                  <c:v>0.0006943924010131336</c:v>
                </c:pt>
                <c:pt idx="48">
                  <c:v>0.0006481954699213434</c:v>
                </c:pt>
                <c:pt idx="49">
                  <c:v>0.0006401264544198663</c:v>
                </c:pt>
                <c:pt idx="50">
                  <c:v>0.0005861149362433127</c:v>
                </c:pt>
                <c:pt idx="51">
                  <c:v>0.0005873507314102053</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0.8078932876080487</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0.8078932876080487</c:v>
                </c:pt>
                <c:pt idx="1">
                  <c:v>0.8078932876080487</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0.8376002389000967</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0.8376002389000967</c:v>
                </c:pt>
                <c:pt idx="1">
                  <c:v>0.8376002389000967</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0.8376002389000967</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0.8376002389000967</c:v>
                </c:pt>
                <c:pt idx="1">
                  <c:v>0.8376002389000967</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pt idx="51">
                  <c:v>0.8376002389000967</c:v>
                </c:pt>
                <c:pt idx="52">
                  <c:v>0.8078932876080487</c:v>
                </c:pt>
                <c:pt idx="53">
                  <c:v>0.8376002389000967</c:v>
                </c:pt>
              </c:numCache>
            </c:numRef>
          </c:xVal>
          <c:yVal>
            <c:numRef>
              <c:f>Sheet1!$B$146:$B$199</c:f>
              <c:numCache>
                <c:formatCode>General</c:formatCode>
                <c:ptCount val="54"/>
                <c:pt idx="0">
                  <c:v>0.2618173250476981</c:v>
                </c:pt>
                <c:pt idx="1">
                  <c:v>0.29317124078682827</c:v>
                </c:pt>
                <c:pt idx="2">
                  <c:v>0.2914576589812924</c:v>
                </c:pt>
                <c:pt idx="3">
                  <c:v>0.26830114809567185</c:v>
                </c:pt>
                <c:pt idx="4">
                  <c:v>0.25880697863256746</c:v>
                </c:pt>
                <c:pt idx="5">
                  <c:v>0.26028899532924715</c:v>
                </c:pt>
                <c:pt idx="6">
                  <c:v>0.2708946773148614</c:v>
                </c:pt>
                <c:pt idx="7">
                  <c:v>0.27867526497242984</c:v>
                </c:pt>
                <c:pt idx="8">
                  <c:v>0.30887135516727904</c:v>
                </c:pt>
                <c:pt idx="9">
                  <c:v>0.34717222417209537</c:v>
                </c:pt>
                <c:pt idx="10">
                  <c:v>0.34754272834626526</c:v>
                </c:pt>
                <c:pt idx="11">
                  <c:v>0.34888580597763125</c:v>
                </c:pt>
                <c:pt idx="12">
                  <c:v>0.34856161482523257</c:v>
                </c:pt>
                <c:pt idx="13">
                  <c:v>0.3210053668713442</c:v>
                </c:pt>
                <c:pt idx="14">
                  <c:v>0.26908846946578296</c:v>
                </c:pt>
                <c:pt idx="15">
                  <c:v>0.26042793439456097</c:v>
                </c:pt>
                <c:pt idx="16">
                  <c:v>0.2595943000026786</c:v>
                </c:pt>
                <c:pt idx="17">
                  <c:v>0.27705430921043644</c:v>
                </c:pt>
                <c:pt idx="18">
                  <c:v>0.3116501364735535</c:v>
                </c:pt>
                <c:pt idx="19">
                  <c:v>0.3017391498145079</c:v>
                </c:pt>
                <c:pt idx="20">
                  <c:v>0.2853906531292598</c:v>
                </c:pt>
                <c:pt idx="21">
                  <c:v>0.26251202037426674</c:v>
                </c:pt>
                <c:pt idx="22">
                  <c:v>0.2619099510912406</c:v>
                </c:pt>
                <c:pt idx="23">
                  <c:v>0.2609836906558158</c:v>
                </c:pt>
                <c:pt idx="24">
                  <c:v>0.2612615687864433</c:v>
                </c:pt>
                <c:pt idx="25">
                  <c:v>0.2613078818082145</c:v>
                </c:pt>
                <c:pt idx="26">
                  <c:v>0.2619099510912406</c:v>
                </c:pt>
                <c:pt idx="27">
                  <c:v>0.2627898985048942</c:v>
                </c:pt>
                <c:pt idx="28">
                  <c:v>0.28256555880121415</c:v>
                </c:pt>
                <c:pt idx="29">
                  <c:v>0.29414381424402436</c:v>
                </c:pt>
                <c:pt idx="30">
                  <c:v>0.3291101456813113</c:v>
                </c:pt>
                <c:pt idx="31">
                  <c:v>0.34768166741157897</c:v>
                </c:pt>
                <c:pt idx="32">
                  <c:v>0.3422630438643438</c:v>
                </c:pt>
                <c:pt idx="33">
                  <c:v>0.3435134954521673</c:v>
                </c:pt>
                <c:pt idx="34">
                  <c:v>0.3449028861053045</c:v>
                </c:pt>
                <c:pt idx="35">
                  <c:v>0.3000718810307432</c:v>
                </c:pt>
                <c:pt idx="36">
                  <c:v>0.27066311220600514</c:v>
                </c:pt>
                <c:pt idx="37">
                  <c:v>0.2826581848447566</c:v>
                </c:pt>
                <c:pt idx="38">
                  <c:v>0.29108715480712244</c:v>
                </c:pt>
                <c:pt idx="39">
                  <c:v>0.32484934767835716</c:v>
                </c:pt>
                <c:pt idx="40">
                  <c:v>0.40774965664887863</c:v>
                </c:pt>
                <c:pt idx="41">
                  <c:v>0.40668445714814005</c:v>
                </c:pt>
                <c:pt idx="42">
                  <c:v>0.4073328394529374</c:v>
                </c:pt>
                <c:pt idx="43">
                  <c:v>0.34601439862781436</c:v>
                </c:pt>
                <c:pt idx="44">
                  <c:v>0.2616320729606132</c:v>
                </c:pt>
                <c:pt idx="45">
                  <c:v>0.2656613058547111</c:v>
                </c:pt>
                <c:pt idx="46">
                  <c:v>0.2739976497735345</c:v>
                </c:pt>
                <c:pt idx="47">
                  <c:v>0.2753870404266717</c:v>
                </c:pt>
                <c:pt idx="48">
                  <c:v>0.31544780425879526</c:v>
                </c:pt>
                <c:pt idx="49">
                  <c:v>0.35981567911564416</c:v>
                </c:pt>
                <c:pt idx="50">
                  <c:v>0.35796315824479447</c:v>
                </c:pt>
                <c:pt idx="51">
                  <c:v>0.3425408113531174</c:v>
                </c:pt>
                <c:pt idx="52">
                  <c:v>0.3562989981725756</c:v>
                </c:pt>
                <c:pt idx="53">
                  <c:v>0.34254081135311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6449677516124195</c:v>
                </c:pt>
                <c:pt idx="1">
                  <c:v>1.6598170091495428</c:v>
                </c:pt>
                <c:pt idx="2">
                  <c:v>7.07997440818938</c:v>
                </c:pt>
                <c:pt idx="3">
                  <c:v>1.8676495799759985</c:v>
                </c:pt>
                <c:pt idx="4">
                  <c:v>28.961038961038962</c:v>
                </c:pt>
                <c:pt idx="5">
                  <c:v>19.35008665511265</c:v>
                </c:pt>
                <c:pt idx="6">
                  <c:v>16.244367417677644</c:v>
                </c:pt>
                <c:pt idx="7">
                  <c:v>16.16637781629116</c:v>
                </c:pt>
                <c:pt idx="8">
                  <c:v>18.745233968804158</c:v>
                </c:pt>
                <c:pt idx="9">
                  <c:v>15.400346620450605</c:v>
                </c:pt>
                <c:pt idx="10">
                  <c:v>0.39945933768866865</c:v>
                </c:pt>
                <c:pt idx="11">
                  <c:v>0.40065762803477317</c:v>
                </c:pt>
                <c:pt idx="12">
                  <c:v>0.4418918918918918</c:v>
                </c:pt>
                <c:pt idx="13">
                  <c:v>0.510578543343943</c:v>
                </c:pt>
                <c:pt idx="14">
                  <c:v>0.5059805912886481</c:v>
                </c:pt>
                <c:pt idx="15">
                  <c:v>0.5149552033080634</c:v>
                </c:pt>
                <c:pt idx="16">
                  <c:v>0.5105847926477984</c:v>
                </c:pt>
                <c:pt idx="17">
                  <c:v>0.516606737320212</c:v>
                </c:pt>
                <c:pt idx="18">
                  <c:v>0.5454223928860145</c:v>
                </c:pt>
                <c:pt idx="19">
                  <c:v>0.5337851305561092</c:v>
                </c:pt>
                <c:pt idx="20">
                  <c:v>0.5417782944952738</c:v>
                </c:pt>
                <c:pt idx="21">
                  <c:v>0.5344242666134504</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2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6:$A$77</c:f>
              <c:numCache>
                <c:formatCode>General</c:formatCode>
                <c:ptCount val="52"/>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7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0:$A$81</c:f>
              <c:numCache>
                <c:formatCode>General</c:formatCode>
                <c:ptCount val="2"/>
                <c:pt idx="0">
                  <c:v>0</c:v>
                </c:pt>
                <c:pt idx="1">
                  <c:v>0.42975774472137046</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5-096C-4121-9522-6AB7243CCAAE}"/>
            </c:ext>
          </c:extLst>
        </c:ser>
        <c:ser>
          <c:idx val="3"/>
          <c:order val="3"/>
          <c:tx>
            <c:strRef>
              <c:f>Sheet1!$B$8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4:$A$85</c:f>
              <c:numCache>
                <c:formatCode>General</c:formatCode>
                <c:ptCount val="2"/>
                <c:pt idx="0">
                  <c:v>0.42975774472137046</c:v>
                </c:pt>
                <c:pt idx="1">
                  <c:v>0.42975774472137046</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8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88:$A$89</c:f>
              <c:numCache>
                <c:formatCode>General</c:formatCode>
                <c:ptCount val="2"/>
                <c:pt idx="0">
                  <c:v>0</c:v>
                </c:pt>
                <c:pt idx="1">
                  <c:v>0.4503011132386134</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9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2:$A$93</c:f>
              <c:numCache>
                <c:formatCode>General</c:formatCode>
                <c:ptCount val="2"/>
                <c:pt idx="0">
                  <c:v>0.4503011132386134</c:v>
                </c:pt>
                <c:pt idx="1">
                  <c:v>0.4503011132386134</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9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96:$A$97</c:f>
              <c:numCache>
                <c:formatCode>General</c:formatCode>
                <c:ptCount val="2"/>
                <c:pt idx="0">
                  <c:v>0</c:v>
                </c:pt>
                <c:pt idx="1">
                  <c:v>0.4503011132386134</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9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0.4503011132386134</c:v>
                </c:pt>
                <c:pt idx="1">
                  <c:v>0.4503011132386134</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04:$A$158</c:f>
              <c:numCache>
                <c:formatCode>General</c:formatCode>
                <c:ptCount val="55"/>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pt idx="52">
                  <c:v>0.4503011132386134</c:v>
                </c:pt>
                <c:pt idx="53">
                  <c:v>0.42975774472137046</c:v>
                </c:pt>
                <c:pt idx="54">
                  <c:v>0.4503011132386134</c:v>
                </c:pt>
              </c:numCache>
            </c:numRef>
          </c:xVal>
          <c:yVal>
            <c:numRef>
              <c:f>Sheet1!$B$104:$B$158</c:f>
              <c:numCache>
                <c:formatCode>General</c:formatCode>
                <c:ptCount val="55"/>
                <c:pt idx="0">
                  <c:v>0.32262222065839663</c:v>
                </c:pt>
                <c:pt idx="1">
                  <c:v>0.34175533581574785</c:v>
                </c:pt>
                <c:pt idx="2">
                  <c:v>0.3309060716338342</c:v>
                </c:pt>
                <c:pt idx="3">
                  <c:v>0.30893950596323083</c:v>
                </c:pt>
                <c:pt idx="4">
                  <c:v>0.29064527742273477</c:v>
                </c:pt>
                <c:pt idx="5">
                  <c:v>0.2787802682917444</c:v>
                </c:pt>
                <c:pt idx="6">
                  <c:v>0.2853177364048256</c:v>
                </c:pt>
                <c:pt idx="7">
                  <c:v>0.2902414528099482</c:v>
                </c:pt>
                <c:pt idx="8">
                  <c:v>0.29580104890776665</c:v>
                </c:pt>
                <c:pt idx="9">
                  <c:v>0.32991679336912294</c:v>
                </c:pt>
                <c:pt idx="10">
                  <c:v>0.3221692901447831</c:v>
                </c:pt>
                <c:pt idx="11">
                  <c:v>0.31454040876833034</c:v>
                </c:pt>
                <c:pt idx="12">
                  <c:v>0.31138116590219467</c:v>
                </c:pt>
                <c:pt idx="13">
                  <c:v>0.28456830268462197</c:v>
                </c:pt>
                <c:pt idx="14">
                  <c:v>0.2434352354247291</c:v>
                </c:pt>
                <c:pt idx="15">
                  <c:v>0.2341843070716642</c:v>
                </c:pt>
                <c:pt idx="16">
                  <c:v>0.23455695588834696</c:v>
                </c:pt>
                <c:pt idx="17">
                  <c:v>0.2530852568582034</c:v>
                </c:pt>
                <c:pt idx="18">
                  <c:v>0.28020935909147177</c:v>
                </c:pt>
                <c:pt idx="19">
                  <c:v>0.2822222040495609</c:v>
                </c:pt>
                <c:pt idx="20">
                  <c:v>0.26768178913606266</c:v>
                </c:pt>
                <c:pt idx="21">
                  <c:v>0.25780834390098506</c:v>
                </c:pt>
                <c:pt idx="22">
                  <c:v>0.2325069334427401</c:v>
                </c:pt>
                <c:pt idx="23">
                  <c:v>0.22014217898851296</c:v>
                </c:pt>
                <c:pt idx="24">
                  <c:v>0.20183248922183372</c:v>
                </c:pt>
                <c:pt idx="25">
                  <c:v>0.18336780864560848</c:v>
                </c:pt>
                <c:pt idx="26">
                  <c:v>0.2010575340803401</c:v>
                </c:pt>
                <c:pt idx="27">
                  <c:v>0.2601904382246854</c:v>
                </c:pt>
                <c:pt idx="28">
                  <c:v>0.2898158243242202</c:v>
                </c:pt>
                <c:pt idx="29">
                  <c:v>0.316823092705521</c:v>
                </c:pt>
                <c:pt idx="30">
                  <c:v>0.3300379158820752</c:v>
                </c:pt>
                <c:pt idx="31">
                  <c:v>0.33069077381980283</c:v>
                </c:pt>
                <c:pt idx="32">
                  <c:v>0.32729637275729495</c:v>
                </c:pt>
                <c:pt idx="33">
                  <c:v>0.329284818089216</c:v>
                </c:pt>
                <c:pt idx="34">
                  <c:v>0.3284373371264925</c:v>
                </c:pt>
                <c:pt idx="35">
                  <c:v>0.31689141902230356</c:v>
                </c:pt>
                <c:pt idx="36">
                  <c:v>0.32503643842020036</c:v>
                </c:pt>
                <c:pt idx="37">
                  <c:v>0.32901520290176123</c:v>
                </c:pt>
                <c:pt idx="38">
                  <c:v>0.33446080759037833</c:v>
                </c:pt>
                <c:pt idx="39">
                  <c:v>0.3441236336961604</c:v>
                </c:pt>
                <c:pt idx="40">
                  <c:v>0.38009269975724136</c:v>
                </c:pt>
                <c:pt idx="41">
                  <c:v>0.377399717497644</c:v>
                </c:pt>
                <c:pt idx="42">
                  <c:v>0.3724477080883286</c:v>
                </c:pt>
                <c:pt idx="43">
                  <c:v>0.334445411653879</c:v>
                </c:pt>
                <c:pt idx="44">
                  <c:v>0.3097621616253394</c:v>
                </c:pt>
                <c:pt idx="45">
                  <c:v>0.3182133596715388</c:v>
                </c:pt>
                <c:pt idx="46">
                  <c:v>0.32095393789229554</c:v>
                </c:pt>
                <c:pt idx="47">
                  <c:v>0.3282543009100811</c:v>
                </c:pt>
                <c:pt idx="48">
                  <c:v>0.3265099442984347</c:v>
                </c:pt>
                <c:pt idx="49">
                  <c:v>0.338380089124385</c:v>
                </c:pt>
                <c:pt idx="50">
                  <c:v>0.3436939753815417</c:v>
                </c:pt>
                <c:pt idx="51">
                  <c:v>0.34302558637752023</c:v>
                </c:pt>
                <c:pt idx="52">
                  <c:v>0.33316764028386625</c:v>
                </c:pt>
                <c:pt idx="53">
                  <c:v>0.3408112890313585</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0967</c:v>
                </c:pt>
                <c:pt idx="1">
                  <c:v>1.1066</c:v>
                </c:pt>
                <c:pt idx="2">
                  <c:v>1.1066</c:v>
                </c:pt>
                <c:pt idx="3">
                  <c:v>1.0894</c:v>
                </c:pt>
                <c:pt idx="4">
                  <c:v>1.115</c:v>
                </c:pt>
                <c:pt idx="5">
                  <c:v>1.1165</c:v>
                </c:pt>
                <c:pt idx="6">
                  <c:v>0.9373</c:v>
                </c:pt>
                <c:pt idx="7">
                  <c:v>0.9328</c:v>
                </c:pt>
                <c:pt idx="8">
                  <c:v>1.0816</c:v>
                </c:pt>
                <c:pt idx="9">
                  <c:v>0.8886</c:v>
                </c:pt>
                <c:pt idx="10">
                  <c:v>0.8866</c:v>
                </c:pt>
                <c:pt idx="11">
                  <c:v>0.8895</c:v>
                </c:pt>
                <c:pt idx="12">
                  <c:v>0.981</c:v>
                </c:pt>
                <c:pt idx="13">
                  <c:v>1.0908</c:v>
                </c:pt>
                <c:pt idx="14">
                  <c:v>1.121</c:v>
                </c:pt>
                <c:pt idx="15">
                  <c:v>1.1208</c:v>
                </c:pt>
                <c:pt idx="16">
                  <c:v>1.1167</c:v>
                </c:pt>
                <c:pt idx="17">
                  <c:v>1.0919</c:v>
                </c:pt>
                <c:pt idx="18">
                  <c:v>1.0795</c:v>
                </c:pt>
                <c:pt idx="19">
                  <c:v>1.0712</c:v>
                </c:pt>
                <c:pt idx="20">
                  <c:v>1.0718</c:v>
                </c:pt>
                <c:pt idx="21">
                  <c:v>1.0712</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2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6:$A$77</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79</c:f>
              <c:strCache>
                <c:ptCount val="1"/>
                <c:pt idx="0">
                  <c:v>Custom Linep3yQ</c:v>
                </c:pt>
              </c:strCache>
            </c:strRef>
          </c:tx>
          <c:spPr>
            <a:ln w="19050" cap="rnd">
              <a:solidFill>
                <a:srgbClr val="C00000"/>
              </a:solidFill>
              <a:prstDash val="sysDot"/>
              <a:round/>
            </a:ln>
            <a:effectLst/>
          </c:spPr>
          <c:marker>
            <c:symbol val="none"/>
          </c:marker>
          <c:xVal>
            <c:numRef>
              <c:f>Sheet1!$A$80:$A$81</c:f>
              <c:numCache>
                <c:formatCode>General</c:formatCode>
                <c:ptCount val="2"/>
                <c:pt idx="0">
                  <c:v>0</c:v>
                </c:pt>
                <c:pt idx="1">
                  <c:v>0.8411197294647357</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3-F32D-48B7-BC20-E66FC6253BAD}"/>
            </c:ext>
          </c:extLst>
        </c:ser>
        <c:ser>
          <c:idx val="3"/>
          <c:order val="3"/>
          <c:tx>
            <c:strRef>
              <c:f>Sheet1!$B$8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4:$A$85</c:f>
              <c:numCache>
                <c:formatCode>General</c:formatCode>
                <c:ptCount val="2"/>
                <c:pt idx="0">
                  <c:v>0.8411197294647357</c:v>
                </c:pt>
                <c:pt idx="1">
                  <c:v>0.8411197294647357</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8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88:$A$89</c:f>
              <c:numCache>
                <c:formatCode>General</c:formatCode>
                <c:ptCount val="2"/>
                <c:pt idx="0">
                  <c:v>0</c:v>
                </c:pt>
                <c:pt idx="1">
                  <c:v>0.8573344294665443</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9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2:$A$93</c:f>
              <c:numCache>
                <c:formatCode>General</c:formatCode>
                <c:ptCount val="2"/>
                <c:pt idx="0">
                  <c:v>0.8573344294665443</c:v>
                </c:pt>
                <c:pt idx="1">
                  <c:v>0.8573344294665443</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9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96:$A$97</c:f>
              <c:numCache>
                <c:formatCode>General</c:formatCode>
                <c:ptCount val="2"/>
                <c:pt idx="0">
                  <c:v>0</c:v>
                </c:pt>
                <c:pt idx="1">
                  <c:v>0.8573344294665443</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9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0.8573344294665443</c:v>
                </c:pt>
                <c:pt idx="1">
                  <c:v>0.8573344294665443</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04:$A$158</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411197294647357</c:v>
                </c:pt>
                <c:pt idx="54">
                  <c:v>0.8573344294665443</c:v>
                </c:pt>
              </c:numCache>
            </c:numRef>
          </c:xVal>
          <c:yVal>
            <c:numRef>
              <c:f>Sheet1!$B$104:$B$158</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408112890313585</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696407624633431</c:v>
                </c:pt>
                <c:pt idx="1">
                  <c:v>0.7222555039688483</c:v>
                </c:pt>
                <c:pt idx="2">
                  <c:v>0.8142700143714598</c:v>
                </c:pt>
                <c:pt idx="3">
                  <c:v>0.7953814432989692</c:v>
                </c:pt>
                <c:pt idx="4">
                  <c:v>0.7170272673384707</c:v>
                </c:pt>
                <c:pt idx="5">
                  <c:v>0.7182606162138538</c:v>
                </c:pt>
                <c:pt idx="6">
                  <c:v>0.7007493875198156</c:v>
                </c:pt>
                <c:pt idx="7">
                  <c:v>0.7018374964111398</c:v>
                </c:pt>
                <c:pt idx="8">
                  <c:v>0.7082552946261345</c:v>
                </c:pt>
                <c:pt idx="9">
                  <c:v>0.7607137291569268</c:v>
                </c:pt>
                <c:pt idx="10">
                  <c:v>0.8836477987421384</c:v>
                </c:pt>
                <c:pt idx="11">
                  <c:v>0.9072649959287071</c:v>
                </c:pt>
                <c:pt idx="12">
                  <c:v>0.8823529411764706</c:v>
                </c:pt>
                <c:pt idx="13">
                  <c:v>0.8924769980155149</c:v>
                </c:pt>
                <c:pt idx="14">
                  <c:v>0.8920064958498737</c:v>
                </c:pt>
                <c:pt idx="15">
                  <c:v>0.9202597871188887</c:v>
                </c:pt>
                <c:pt idx="16">
                  <c:v>0.8820661007765939</c:v>
                </c:pt>
                <c:pt idx="17">
                  <c:v>0.8777807558295364</c:v>
                </c:pt>
                <c:pt idx="18">
                  <c:v>0.863444639718805</c:v>
                </c:pt>
                <c:pt idx="19">
                  <c:v>0.8683863016110575</c:v>
                </c:pt>
                <c:pt idx="20">
                  <c:v>0.8820929821460138</c:v>
                </c:pt>
                <c:pt idx="21">
                  <c:v>0.8903950771426024</c:v>
                </c:pt>
                <c:pt idx="22">
                  <c:v>0.8989156734474417</c:v>
                </c:pt>
                <c:pt idx="23">
                  <c:v>0.8921770227983906</c:v>
                </c:pt>
                <c:pt idx="24">
                  <c:v>0.8924615934262237</c:v>
                </c:pt>
                <c:pt idx="25">
                  <c:v>0.8902723038337513</c:v>
                </c:pt>
                <c:pt idx="26">
                  <c:v>0.891411648568608</c:v>
                </c:pt>
                <c:pt idx="27">
                  <c:v>0.8995782105357623</c:v>
                </c:pt>
                <c:pt idx="28">
                  <c:v>0.9157913636771704</c:v>
                </c:pt>
                <c:pt idx="29">
                  <c:v>0.9019590222861251</c:v>
                </c:pt>
                <c:pt idx="30">
                  <c:v>0.8974243919949744</c:v>
                </c:pt>
                <c:pt idx="31">
                  <c:v>0.8712318905786016</c:v>
                </c:pt>
                <c:pt idx="32">
                  <c:v>0.8285380327279266</c:v>
                </c:pt>
                <c:pt idx="33">
                  <c:v>0.8191212148441009</c:v>
                </c:pt>
                <c:pt idx="34">
                  <c:v>0.8230493273542601</c:v>
                </c:pt>
                <c:pt idx="35">
                  <c:v>0.8229428674092706</c:v>
                </c:pt>
                <c:pt idx="36">
                  <c:v>0.8170545421870788</c:v>
                </c:pt>
                <c:pt idx="37">
                  <c:v>0.8180594201597702</c:v>
                </c:pt>
                <c:pt idx="38">
                  <c:v>0.8111568767908309</c:v>
                </c:pt>
                <c:pt idx="39">
                  <c:v>0.8158554044380817</c:v>
                </c:pt>
                <c:pt idx="40">
                  <c:v>0.8349601504432703</c:v>
                </c:pt>
                <c:pt idx="41">
                  <c:v>0.8407888839085612</c:v>
                </c:pt>
                <c:pt idx="42">
                  <c:v>0.8438451890342231</c:v>
                </c:pt>
                <c:pt idx="43">
                  <c:v>0.8464648279579553</c:v>
                </c:pt>
                <c:pt idx="44">
                  <c:v>0.8847814355099839</c:v>
                </c:pt>
                <c:pt idx="45">
                  <c:v>0.9399369653309321</c:v>
                </c:pt>
                <c:pt idx="46">
                  <c:v>0.9768656044648483</c:v>
                </c:pt>
                <c:pt idx="47">
                  <c:v>0.9696531791907516</c:v>
                </c:pt>
                <c:pt idx="48">
                  <c:v>1.0054073540014419</c:v>
                </c:pt>
                <c:pt idx="49">
                  <c:v>1.0799294739935352</c:v>
                </c:pt>
                <c:pt idx="50">
                  <c:v>1.216797683078196</c:v>
                </c:pt>
                <c:pt idx="51">
                  <c:v>1.0342126957955482</c:v>
                </c:pt>
                <c:pt idx="52">
                  <c:v>1.0147273866722373</c:v>
                </c:pt>
                <c:pt idx="53">
                  <c:v>1.9744979919678713</c:v>
                </c:pt>
                <c:pt idx="54">
                  <c:v>2.4437643458301457</c:v>
                </c:pt>
                <c:pt idx="55">
                  <c:v>2.3654834761321912</c:v>
                </c:pt>
                <c:pt idx="56">
                  <c:v>2.358108108108108</c:v>
                </c:pt>
                <c:pt idx="57">
                  <c:v>2.4490358126721765</c:v>
                </c:pt>
                <c:pt idx="58">
                  <c:v>2.42196388820183</c:v>
                </c:pt>
                <c:pt idx="59">
                  <c:v>2.472672822560519</c:v>
                </c:pt>
                <c:pt idx="60">
                  <c:v>2.0519290928050054</c:v>
                </c:pt>
                <c:pt idx="61">
                  <c:v>2.3894607843137257</c:v>
                </c:pt>
                <c:pt idx="62">
                  <c:v>2.8153049482163404</c:v>
                </c:pt>
                <c:pt idx="63">
                  <c:v>2.562629399585921</c:v>
                </c:pt>
                <c:pt idx="64">
                  <c:v>2.0994027303754264</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3</c:f>
              <c:numCache>
                <c:formatCode>General</c:formatCode>
                <c:ptCount val="45"/>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17.991668206643553</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7.991668206643553</c:v>
                </c:pt>
                <c:pt idx="1">
                  <c:v>17.991668206643553</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7.748127518440169</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7.748127518440169</c:v>
                </c:pt>
                <c:pt idx="1">
                  <c:v>7.748127518440169</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1.4997355715889864</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1.4997355715889864</c:v>
                </c:pt>
                <c:pt idx="1">
                  <c:v>1.4997355715889864</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87</c:f>
              <c:numCache>
                <c:formatCode>General</c:formatCode>
                <c:ptCount val="48"/>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pt idx="45">
                  <c:v>7.748127518440169</c:v>
                </c:pt>
                <c:pt idx="46">
                  <c:v>17.991668206643553</c:v>
                </c:pt>
                <c:pt idx="47">
                  <c:v>1.4997355715889864</c:v>
                </c:pt>
              </c:numCache>
            </c:numRef>
          </c:xVal>
          <c:yVal>
            <c:numRef>
              <c:f>Sheet1!$B$140:$B$187</c:f>
              <c:numCache>
                <c:formatCode>General</c:formatCode>
                <c:ptCount val="48"/>
                <c:pt idx="0">
                  <c:v>0.10829985899588397</c:v>
                </c:pt>
                <c:pt idx="1">
                  <c:v>0.10817896041226878</c:v>
                </c:pt>
                <c:pt idx="2">
                  <c:v>0.10789580998746416</c:v>
                </c:pt>
                <c:pt idx="3">
                  <c:v>0.1073703367303327</c:v>
                </c:pt>
                <c:pt idx="4">
                  <c:v>0.1080914416523941</c:v>
                </c:pt>
                <c:pt idx="5">
                  <c:v>0.1074268993435091</c:v>
                </c:pt>
                <c:pt idx="6">
                  <c:v>0.10859199884853536</c:v>
                </c:pt>
                <c:pt idx="7">
                  <c:v>0.10851229943053957</c:v>
                </c:pt>
                <c:pt idx="8">
                  <c:v>0.1062987494702602</c:v>
                </c:pt>
                <c:pt idx="9">
                  <c:v>0.10684138267785827</c:v>
                </c:pt>
                <c:pt idx="10">
                  <c:v>0.10732725573138548</c:v>
                </c:pt>
                <c:pt idx="11">
                  <c:v>0.10829790474927072</c:v>
                </c:pt>
                <c:pt idx="12">
                  <c:v>0.1074791785116349</c:v>
                </c:pt>
                <c:pt idx="13">
                  <c:v>0.10650935648632144</c:v>
                </c:pt>
                <c:pt idx="14">
                  <c:v>0.10725102775883168</c:v>
                </c:pt>
                <c:pt idx="15">
                  <c:v>0.10958133338693124</c:v>
                </c:pt>
                <c:pt idx="16">
                  <c:v>0.1073898928939306</c:v>
                </c:pt>
                <c:pt idx="17">
                  <c:v>0.10617381550088659</c:v>
                </c:pt>
                <c:pt idx="18">
                  <c:v>0.10681431808580352</c:v>
                </c:pt>
                <c:pt idx="19">
                  <c:v>0.1062799190165458</c:v>
                </c:pt>
                <c:pt idx="20">
                  <c:v>0.10960790848309623</c:v>
                </c:pt>
                <c:pt idx="21">
                  <c:v>0.10612353348693727</c:v>
                </c:pt>
                <c:pt idx="22">
                  <c:v>0.10581633100890961</c:v>
                </c:pt>
                <c:pt idx="23">
                  <c:v>0.10955736369235104</c:v>
                </c:pt>
                <c:pt idx="24">
                  <c:v>0.10956570097742242</c:v>
                </c:pt>
                <c:pt idx="25">
                  <c:v>0.10785881555249832</c:v>
                </c:pt>
                <c:pt idx="26">
                  <c:v>0.10786854238508159</c:v>
                </c:pt>
                <c:pt idx="27">
                  <c:v>0.10958133338693124</c:v>
                </c:pt>
                <c:pt idx="28">
                  <c:v>0.10963813114147995</c:v>
                </c:pt>
                <c:pt idx="29">
                  <c:v>0.107068684098547</c:v>
                </c:pt>
                <c:pt idx="30">
                  <c:v>0.10976371149786747</c:v>
                </c:pt>
                <c:pt idx="31">
                  <c:v>0.10905894551986899</c:v>
                </c:pt>
                <c:pt idx="32">
                  <c:v>0.10556168780522562</c:v>
                </c:pt>
                <c:pt idx="33">
                  <c:v>0.10548726625795252</c:v>
                </c:pt>
                <c:pt idx="34">
                  <c:v>0.10549313696963468</c:v>
                </c:pt>
                <c:pt idx="35">
                  <c:v>0.10550662369469287</c:v>
                </c:pt>
                <c:pt idx="36">
                  <c:v>0.10550007980483066</c:v>
                </c:pt>
                <c:pt idx="37">
                  <c:v>0.1055112813882254</c:v>
                </c:pt>
                <c:pt idx="38">
                  <c:v>0.10550044775841734</c:v>
                </c:pt>
                <c:pt idx="39">
                  <c:v>0.10553756610234842</c:v>
                </c:pt>
                <c:pt idx="40">
                  <c:v>0.10552718257720815</c:v>
                </c:pt>
                <c:pt idx="41">
                  <c:v>0.10550961847731241</c:v>
                </c:pt>
                <c:pt idx="42">
                  <c:v>0.10552897833395365</c:v>
                </c:pt>
                <c:pt idx="43">
                  <c:v>0.10553274270509477</c:v>
                </c:pt>
                <c:pt idx="44">
                  <c:v>0.10553801733921915</c:v>
                </c:pt>
                <c:pt idx="45">
                  <c:v>0.11456146409449719</c:v>
                </c:pt>
                <c:pt idx="46">
                  <c:v>0.12790573266601793</c:v>
                </c:pt>
                <c:pt idx="47">
                  <c:v>0.106421678954098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9499</c:v>
                </c:pt>
                <c:pt idx="1">
                  <c:v>0.9645</c:v>
                </c:pt>
                <c:pt idx="2">
                  <c:v>0.9632</c:v>
                </c:pt>
                <c:pt idx="3">
                  <c:v>0.9644</c:v>
                </c:pt>
                <c:pt idx="4">
                  <c:v>0.9677</c:v>
                </c:pt>
                <c:pt idx="5">
                  <c:v>0.9861</c:v>
                </c:pt>
                <c:pt idx="6">
                  <c:v>0.9725</c:v>
                </c:pt>
                <c:pt idx="7">
                  <c:v>0.9778</c:v>
                </c:pt>
                <c:pt idx="8">
                  <c:v>0.9832</c:v>
                </c:pt>
                <c:pt idx="9">
                  <c:v>0.9763</c:v>
                </c:pt>
                <c:pt idx="10">
                  <c:v>0.9835</c:v>
                </c:pt>
                <c:pt idx="11">
                  <c:v>1.0028</c:v>
                </c:pt>
                <c:pt idx="12">
                  <c:v>0.9795</c:v>
                </c:pt>
                <c:pt idx="13">
                  <c:v>0.9894</c:v>
                </c:pt>
                <c:pt idx="14">
                  <c:v>0.9887</c:v>
                </c:pt>
                <c:pt idx="15">
                  <c:v>1.0202</c:v>
                </c:pt>
                <c:pt idx="16">
                  <c:v>0.9768</c:v>
                </c:pt>
                <c:pt idx="17">
                  <c:v>0.9825</c:v>
                </c:pt>
                <c:pt idx="18">
                  <c:v>0.9826</c:v>
                </c:pt>
                <c:pt idx="19">
                  <c:v>0.9864</c:v>
                </c:pt>
                <c:pt idx="20">
                  <c:v>0.998</c:v>
                </c:pt>
                <c:pt idx="21">
                  <c:v>0.9984</c:v>
                </c:pt>
                <c:pt idx="22">
                  <c:v>1.0031</c:v>
                </c:pt>
                <c:pt idx="23">
                  <c:v>0.9979</c:v>
                </c:pt>
                <c:pt idx="24">
                  <c:v>0.9992</c:v>
                </c:pt>
                <c:pt idx="25">
                  <c:v>0.9939</c:v>
                </c:pt>
                <c:pt idx="26">
                  <c:v>0.9933</c:v>
                </c:pt>
                <c:pt idx="27">
                  <c:v>1.0024</c:v>
                </c:pt>
                <c:pt idx="28">
                  <c:v>1.0201</c:v>
                </c:pt>
                <c:pt idx="29">
                  <c:v>1.0037</c:v>
                </c:pt>
                <c:pt idx="30">
                  <c:v>1.0</c:v>
                </c:pt>
                <c:pt idx="31">
                  <c:v>0.9682</c:v>
                </c:pt>
                <c:pt idx="32">
                  <c:v>0.9215</c:v>
                </c:pt>
                <c:pt idx="33">
                  <c:v>0.9116</c:v>
                </c:pt>
                <c:pt idx="34">
                  <c:v>0.9177</c:v>
                </c:pt>
                <c:pt idx="35">
                  <c:v>0.9161</c:v>
                </c:pt>
                <c:pt idx="36">
                  <c:v>0.9093</c:v>
                </c:pt>
                <c:pt idx="37">
                  <c:v>0.9114</c:v>
                </c:pt>
                <c:pt idx="38">
                  <c:v>0.9059</c:v>
                </c:pt>
                <c:pt idx="39">
                  <c:v>0.9118</c:v>
                </c:pt>
                <c:pt idx="40">
                  <c:v>0.9324</c:v>
                </c:pt>
                <c:pt idx="41">
                  <c:v>0.9379</c:v>
                </c:pt>
                <c:pt idx="42">
                  <c:v>0.9419</c:v>
                </c:pt>
                <c:pt idx="43">
                  <c:v>0.9422</c:v>
                </c:pt>
                <c:pt idx="44">
                  <c:v>0.9837</c:v>
                </c:pt>
                <c:pt idx="45">
                  <c:v>1.0438</c:v>
                </c:pt>
                <c:pt idx="46">
                  <c:v>1.0852</c:v>
                </c:pt>
                <c:pt idx="47">
                  <c:v>1.0736</c:v>
                </c:pt>
                <c:pt idx="48">
                  <c:v>1.1156</c:v>
                </c:pt>
                <c:pt idx="49">
                  <c:v>1.1025</c:v>
                </c:pt>
                <c:pt idx="50">
                  <c:v>1.1764</c:v>
                </c:pt>
                <c:pt idx="51">
                  <c:v>1.0036</c:v>
                </c:pt>
                <c:pt idx="52">
                  <c:v>0.9715</c:v>
                </c:pt>
                <c:pt idx="53">
                  <c:v>0.9833</c:v>
                </c:pt>
                <c:pt idx="54">
                  <c:v>0.9582</c:v>
                </c:pt>
                <c:pt idx="55">
                  <c:v>0.9663</c:v>
                </c:pt>
                <c:pt idx="56">
                  <c:v>0.9772</c:v>
                </c:pt>
                <c:pt idx="57">
                  <c:v>0.9779</c:v>
                </c:pt>
                <c:pt idx="58">
                  <c:v>0.9792</c:v>
                </c:pt>
                <c:pt idx="59">
                  <c:v>0.9908</c:v>
                </c:pt>
                <c:pt idx="60">
                  <c:v>0.9839</c:v>
                </c:pt>
                <c:pt idx="61">
                  <c:v>0.9749</c:v>
                </c:pt>
                <c:pt idx="62">
                  <c:v>0.9786</c:v>
                </c:pt>
                <c:pt idx="63">
                  <c:v>0.9902</c:v>
                </c:pt>
                <c:pt idx="64">
                  <c:v>0.9842</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3</c:f>
              <c:numCache>
                <c:formatCode>General</c:formatCode>
                <c:ptCount val="45"/>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1.0496347724293125</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1.0496347724293125</c:v>
                </c:pt>
                <c:pt idx="1">
                  <c:v>1.0496347724293125</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1.0064852537365205</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1.0064852537365205</c:v>
                </c:pt>
                <c:pt idx="1">
                  <c:v>1.0064852537365205</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0.980164754475846</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0.980164754475846</c:v>
                </c:pt>
                <c:pt idx="1">
                  <c:v>0.980164754475846</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87</c:f>
              <c:numCache>
                <c:formatCode>General</c:formatCode>
                <c:ptCount val="48"/>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pt idx="45">
                  <c:v>1.0064852537365205</c:v>
                </c:pt>
                <c:pt idx="46">
                  <c:v>1.0496347724293125</c:v>
                </c:pt>
                <c:pt idx="47">
                  <c:v>0.980164754475846</c:v>
                </c:pt>
              </c:numCache>
            </c:numRef>
          </c:xVal>
          <c:yVal>
            <c:numRef>
              <c:f>Sheet1!$B$140:$B$187</c:f>
              <c:numCache>
                <c:formatCode>General</c:formatCode>
                <c:ptCount val="48"/>
                <c:pt idx="0">
                  <c:v>0.1064944301585071</c:v>
                </c:pt>
                <c:pt idx="1">
                  <c:v>0.10547388375103636</c:v>
                </c:pt>
                <c:pt idx="2">
                  <c:v>0.11496805790538492</c:v>
                </c:pt>
                <c:pt idx="3">
                  <c:v>0.108875705109272</c:v>
                </c:pt>
                <c:pt idx="4">
                  <c:v>0.1084118203786035</c:v>
                </c:pt>
                <c:pt idx="5">
                  <c:v>0.10640165321237335</c:v>
                </c:pt>
                <c:pt idx="6">
                  <c:v>0.10630887626623967</c:v>
                </c:pt>
                <c:pt idx="7">
                  <c:v>0.10995810281416521</c:v>
                </c:pt>
                <c:pt idx="8">
                  <c:v>0.10596869413041612</c:v>
                </c:pt>
                <c:pt idx="9">
                  <c:v>0.10513370161521282</c:v>
                </c:pt>
                <c:pt idx="10">
                  <c:v>0.1087520025144271</c:v>
                </c:pt>
                <c:pt idx="11">
                  <c:v>0.10633980191495088</c:v>
                </c:pt>
                <c:pt idx="12">
                  <c:v>0.10575221458943748</c:v>
                </c:pt>
                <c:pt idx="13">
                  <c:v>0.10618517367139477</c:v>
                </c:pt>
                <c:pt idx="14">
                  <c:v>0.10609239672526102</c:v>
                </c:pt>
                <c:pt idx="15">
                  <c:v>0.10677276099690816</c:v>
                </c:pt>
                <c:pt idx="16">
                  <c:v>0.10677276099690816</c:v>
                </c:pt>
                <c:pt idx="17">
                  <c:v>0.10702016618659801</c:v>
                </c:pt>
                <c:pt idx="18">
                  <c:v>0.10637072756366214</c:v>
                </c:pt>
                <c:pt idx="19">
                  <c:v>0.10633980191495088</c:v>
                </c:pt>
                <c:pt idx="20">
                  <c:v>0.10834996908118108</c:v>
                </c:pt>
                <c:pt idx="21">
                  <c:v>0.1069892405378868</c:v>
                </c:pt>
                <c:pt idx="22">
                  <c:v>0.10559758634588132</c:v>
                </c:pt>
                <c:pt idx="23">
                  <c:v>0.10535018115619146</c:v>
                </c:pt>
                <c:pt idx="24">
                  <c:v>0.10584499153557117</c:v>
                </c:pt>
                <c:pt idx="25">
                  <c:v>0.10516462726392403</c:v>
                </c:pt>
                <c:pt idx="26">
                  <c:v>0.10603054542783855</c:v>
                </c:pt>
                <c:pt idx="27">
                  <c:v>0.10677276099690816</c:v>
                </c:pt>
                <c:pt idx="28">
                  <c:v>0.11014365670643259</c:v>
                </c:pt>
                <c:pt idx="29">
                  <c:v>0.11199919562910657</c:v>
                </c:pt>
                <c:pt idx="30">
                  <c:v>0.11759673804583973</c:v>
                </c:pt>
                <c:pt idx="31">
                  <c:v>0.12535907587235925</c:v>
                </c:pt>
                <c:pt idx="32">
                  <c:v>0.10417500650516456</c:v>
                </c:pt>
                <c:pt idx="33">
                  <c:v>0.10216483933893447</c:v>
                </c:pt>
                <c:pt idx="34">
                  <c:v>0.1021339136902232</c:v>
                </c:pt>
                <c:pt idx="35">
                  <c:v>0.10170095460826592</c:v>
                </c:pt>
                <c:pt idx="36">
                  <c:v>0.09984541568559194</c:v>
                </c:pt>
                <c:pt idx="37">
                  <c:v>0.10108244163404126</c:v>
                </c:pt>
                <c:pt idx="38">
                  <c:v>0.10330908834125005</c:v>
                </c:pt>
                <c:pt idx="39">
                  <c:v>0.10980347457060899</c:v>
                </c:pt>
                <c:pt idx="40">
                  <c:v>0.10800978694535748</c:v>
                </c:pt>
                <c:pt idx="41">
                  <c:v>0.1038966756667635</c:v>
                </c:pt>
                <c:pt idx="42">
                  <c:v>0.10590684283299365</c:v>
                </c:pt>
                <c:pt idx="43">
                  <c:v>0.10943236678607424</c:v>
                </c:pt>
                <c:pt idx="44">
                  <c:v>0.1128032624955986</c:v>
                </c:pt>
                <c:pt idx="45">
                  <c:v>0.11456146409449722</c:v>
                </c:pt>
                <c:pt idx="46">
                  <c:v>0.12790573266601787</c:v>
                </c:pt>
                <c:pt idx="47">
                  <c:v>0.106421678954098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8231437178805598</c:v>
                </c:pt>
                <c:pt idx="1">
                  <c:v>1.8680113234253362</c:v>
                </c:pt>
                <c:pt idx="2">
                  <c:v>1.8760403754205772</c:v>
                </c:pt>
                <c:pt idx="3">
                  <c:v>1.7070221927790659</c:v>
                </c:pt>
                <c:pt idx="4">
                  <c:v>1.7112608277189607</c:v>
                </c:pt>
                <c:pt idx="5">
                  <c:v>1.8011149368748975</c:v>
                </c:pt>
                <c:pt idx="6">
                  <c:v>1.7940454768526093</c:v>
                </c:pt>
                <c:pt idx="7">
                  <c:v>1.7870915032679737</c:v>
                </c:pt>
                <c:pt idx="8">
                  <c:v>1.7429802169751116</c:v>
                </c:pt>
                <c:pt idx="9">
                  <c:v>1.6535246806497397</c:v>
                </c:pt>
                <c:pt idx="10">
                  <c:v>1.5903843112446625</c:v>
                </c:pt>
                <c:pt idx="11">
                  <c:v>1.5963969658659922</c:v>
                </c:pt>
                <c:pt idx="12">
                  <c:v>1.6358199559332707</c:v>
                </c:pt>
                <c:pt idx="13">
                  <c:v>1.6568259918775383</c:v>
                </c:pt>
                <c:pt idx="14">
                  <c:v>1.6315297052861375</c:v>
                </c:pt>
                <c:pt idx="15">
                  <c:v>1.6311834690043832</c:v>
                </c:pt>
                <c:pt idx="16">
                  <c:v>1.6877470355731226</c:v>
                </c:pt>
                <c:pt idx="17">
                  <c:v>1.742709843724827</c:v>
                </c:pt>
                <c:pt idx="18">
                  <c:v>1.7864109770209953</c:v>
                </c:pt>
                <c:pt idx="19">
                  <c:v>1.6857003416300633</c:v>
                </c:pt>
                <c:pt idx="20">
                  <c:v>1.6724704336399474</c:v>
                </c:pt>
                <c:pt idx="21">
                  <c:v>1.5899917965545527</c:v>
                </c:pt>
                <c:pt idx="22">
                  <c:v>1.4661508704061896</c:v>
                </c:pt>
                <c:pt idx="23">
                  <c:v>1.4498893455580144</c:v>
                </c:pt>
                <c:pt idx="24">
                  <c:v>1.4567239476588367</c:v>
                </c:pt>
                <c:pt idx="25">
                  <c:v>1.5871819038642787</c:v>
                </c:pt>
                <c:pt idx="26">
                  <c:v>1.6864949258391884</c:v>
                </c:pt>
                <c:pt idx="27">
                  <c:v>1.7107450980392158</c:v>
                </c:pt>
                <c:pt idx="28">
                  <c:v>1.7407174323473882</c:v>
                </c:pt>
                <c:pt idx="29">
                  <c:v>1.7982099267697313</c:v>
                </c:pt>
                <c:pt idx="30">
                  <c:v>1.9739564752051375</c:v>
                </c:pt>
                <c:pt idx="31">
                  <c:v>1.9812298891669646</c:v>
                </c:pt>
                <c:pt idx="32">
                  <c:v>1.969740121039516</c:v>
                </c:pt>
                <c:pt idx="33">
                  <c:v>1.8009588361712678</c:v>
                </c:pt>
                <c:pt idx="34">
                  <c:v>1.74832</c:v>
                </c:pt>
                <c:pt idx="35">
                  <c:v>1.8013157894736842</c:v>
                </c:pt>
                <c:pt idx="36">
                  <c:v>1.808423467715503</c:v>
                </c:pt>
                <c:pt idx="37">
                  <c:v>1.8251759698805041</c:v>
                </c:pt>
                <c:pt idx="38">
                  <c:v>1.7765006385696043</c:v>
                </c:pt>
                <c:pt idx="39">
                  <c:v>1.7546754675467549</c:v>
                </c:pt>
                <c:pt idx="40">
                  <c:v>1.7558596822400503</c:v>
                </c:pt>
                <c:pt idx="41">
                  <c:v>1.7147571900047147</c:v>
                </c:pt>
                <c:pt idx="42">
                  <c:v>1.6532182103610673</c:v>
                </c:pt>
                <c:pt idx="43">
                  <c:v>1.647294910900626</c:v>
                </c:pt>
                <c:pt idx="44">
                  <c:v>1.6292369198678949</c:v>
                </c:pt>
                <c:pt idx="45">
                  <c:v>1.620288344623936</c:v>
                </c:pt>
                <c:pt idx="46">
                  <c:v>1.6158997252747254</c:v>
                </c:pt>
                <c:pt idx="47">
                  <c:v>1.6668753913587977</c:v>
                </c:pt>
                <c:pt idx="48">
                  <c:v>1.6773635362592416</c:v>
                </c:pt>
                <c:pt idx="49">
                  <c:v>1.6949072618673373</c:v>
                </c:pt>
                <c:pt idx="50">
                  <c:v>1.7011638880150988</c:v>
                </c:pt>
                <c:pt idx="51">
                  <c:v>1.6315526709935098</c:v>
                </c:pt>
                <c:pt idx="52">
                  <c:v>1.5811387900355869</c:v>
                </c:pt>
                <c:pt idx="53">
                  <c:v>1.5806739169192372</c:v>
                </c:pt>
                <c:pt idx="54">
                  <c:v>1.5774073417272567</c:v>
                </c:pt>
                <c:pt idx="55">
                  <c:v>1.6230972865651885</c:v>
                </c:pt>
                <c:pt idx="56">
                  <c:v>1.7621970920840064</c:v>
                </c:pt>
                <c:pt idx="57">
                  <c:v>1.9261168384879725</c:v>
                </c:pt>
                <c:pt idx="58">
                  <c:v>1.9357512953367877</c:v>
                </c:pt>
                <c:pt idx="59">
                  <c:v>1.938715277777778</c:v>
                </c:pt>
                <c:pt idx="60">
                  <c:v>1.8059874297055905</c:v>
                </c:pt>
                <c:pt idx="61">
                  <c:v>1.690151870987944</c:v>
                </c:pt>
                <c:pt idx="62">
                  <c:v>1.6649051911718993</c:v>
                </c:pt>
                <c:pt idx="63">
                  <c:v>1.67103211724353</c:v>
                </c:pt>
                <c:pt idx="64">
                  <c:v>1.6708781781313367</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698171944245196</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698171944245196</c:v>
                </c:pt>
                <c:pt idx="1">
                  <c:v>1.2698171944245196</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446837046336968</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446837046336968</c:v>
                </c:pt>
                <c:pt idx="1">
                  <c:v>1.3446837046336968</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3446837046336968</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3446837046336968</c:v>
                </c:pt>
                <c:pt idx="1">
                  <c:v>1.3446837046336968</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942965180400188</c:v>
                </c:pt>
                <c:pt idx="1">
                  <c:v>1.490685191032523</c:v>
                </c:pt>
                <c:pt idx="2">
                  <c:v>1.49629044988161</c:v>
                </c:pt>
                <c:pt idx="3">
                  <c:v>1.5584882086521943</c:v>
                </c:pt>
                <c:pt idx="4">
                  <c:v>1.6190779014308425</c:v>
                </c:pt>
                <c:pt idx="5">
                  <c:v>1.65855252409737</c:v>
                </c:pt>
                <c:pt idx="6">
                  <c:v>1.6103537812398572</c:v>
                </c:pt>
                <c:pt idx="7">
                  <c:v>1.5784789644012946</c:v>
                </c:pt>
                <c:pt idx="8">
                  <c:v>1.4635048231511254</c:v>
                </c:pt>
                <c:pt idx="9">
                  <c:v>1.2583244640413562</c:v>
                </c:pt>
                <c:pt idx="10">
                  <c:v>1.2110736780430644</c:v>
                </c:pt>
                <c:pt idx="11">
                  <c:v>1.2082416776653468</c:v>
                </c:pt>
                <c:pt idx="12">
                  <c:v>1.2131822863027808</c:v>
                </c:pt>
                <c:pt idx="13">
                  <c:v>1.3107487027427724</c:v>
                </c:pt>
                <c:pt idx="14">
                  <c:v>1.4828818100625187</c:v>
                </c:pt>
                <c:pt idx="15">
                  <c:v>1.514776119402985</c:v>
                </c:pt>
                <c:pt idx="16">
                  <c:v>1.6282831518257528</c:v>
                </c:pt>
                <c:pt idx="17">
                  <c:v>1.6660993873383254</c:v>
                </c:pt>
                <c:pt idx="18">
                  <c:v>1.5296008119079838</c:v>
                </c:pt>
                <c:pt idx="19">
                  <c:v>1.5689830508474576</c:v>
                </c:pt>
                <c:pt idx="20">
                  <c:v>1.505797555625196</c:v>
                </c:pt>
                <c:pt idx="21">
                  <c:v>1.5221452244652005</c:v>
                </c:pt>
                <c:pt idx="22">
                  <c:v>1.5743853096794276</c:v>
                </c:pt>
                <c:pt idx="23">
                  <c:v>1.5816820096738962</c:v>
                </c:pt>
                <c:pt idx="24">
                  <c:v>1.5832161275199248</c:v>
                </c:pt>
                <c:pt idx="25">
                  <c:v>1.5376442015786276</c:v>
                </c:pt>
                <c:pt idx="26">
                  <c:v>1.5340409401061412</c:v>
                </c:pt>
                <c:pt idx="27">
                  <c:v>1.512355848434926</c:v>
                </c:pt>
                <c:pt idx="28">
                  <c:v>1.448188080263552</c:v>
                </c:pt>
                <c:pt idx="29">
                  <c:v>1.3948771098608232</c:v>
                </c:pt>
                <c:pt idx="30">
                  <c:v>1.3475353755248018</c:v>
                </c:pt>
                <c:pt idx="31">
                  <c:v>1.3564746430329888</c:v>
                </c:pt>
                <c:pt idx="32">
                  <c:v>1.3951398135818907</c:v>
                </c:pt>
                <c:pt idx="33">
                  <c:v>1.395756765786836</c:v>
                </c:pt>
                <c:pt idx="34">
                  <c:v>1.3888888888888888</c:v>
                </c:pt>
                <c:pt idx="35">
                  <c:v>1.4412220843672456</c:v>
                </c:pt>
                <c:pt idx="36">
                  <c:v>1.4920348662458671</c:v>
                </c:pt>
                <c:pt idx="37">
                  <c:v>1.439053430570025</c:v>
                </c:pt>
                <c:pt idx="38">
                  <c:v>1.4102869035231158</c:v>
                </c:pt>
                <c:pt idx="39">
                  <c:v>1.324561403508772</c:v>
                </c:pt>
                <c:pt idx="40">
                  <c:v>1.122061191626409</c:v>
                </c:pt>
                <c:pt idx="41">
                  <c:v>1.1248592115848752</c:v>
                </c:pt>
                <c:pt idx="42">
                  <c:v>1.1298785425101214</c:v>
                </c:pt>
                <c:pt idx="43">
                  <c:v>1.3382234402708366</c:v>
                </c:pt>
                <c:pt idx="44">
                  <c:v>1.6919605549055656</c:v>
                </c:pt>
                <c:pt idx="45">
                  <c:v>1.6940861115764787</c:v>
                </c:pt>
                <c:pt idx="46">
                  <c:v>1.680790487355552</c:v>
                </c:pt>
                <c:pt idx="47">
                  <c:v>1.5592469545957919</c:v>
                </c:pt>
                <c:pt idx="48">
                  <c:v>1.4598128064180655</c:v>
                </c:pt>
                <c:pt idx="49">
                  <c:v>1.3154726952436875</c:v>
                </c:pt>
                <c:pt idx="50">
                  <c:v>1.1758742286218042</c:v>
                </c:pt>
                <c:pt idx="51">
                  <c:v>1.188386524822695</c:v>
                </c:pt>
                <c:pt idx="52">
                  <c:v>1.3446837046336968</c:v>
                </c:pt>
                <c:pt idx="53">
                  <c:v>1.2698171944245196</c:v>
                </c:pt>
                <c:pt idx="54">
                  <c:v>1.3446837046336968</c:v>
                </c:pt>
              </c:numCache>
            </c:numRef>
          </c:xVal>
          <c:yVal>
            <c:numRef>
              <c:f>Sheet1!$B$147:$B$201</c:f>
              <c:numCache>
                <c:formatCode>General</c:formatCode>
                <c:ptCount val="55"/>
                <c:pt idx="0">
                  <c:v>0.25604526200849304</c:v>
                </c:pt>
                <c:pt idx="1">
                  <c:v>0.2880578492072042</c:v>
                </c:pt>
                <c:pt idx="2">
                  <c:v>0.2863260034441944</c:v>
                </c:pt>
                <c:pt idx="3">
                  <c:v>0.2671088846820375</c:v>
                </c:pt>
                <c:pt idx="4">
                  <c:v>0.24838860689542763</c:v>
                </c:pt>
                <c:pt idx="5">
                  <c:v>0.23619221064468754</c:v>
                </c:pt>
                <c:pt idx="6">
                  <c:v>0.25108408109127256</c:v>
                </c:pt>
                <c:pt idx="7">
                  <c:v>0.26093238033575195</c:v>
                </c:pt>
                <c:pt idx="8">
                  <c:v>0.2964557138232353</c:v>
                </c:pt>
                <c:pt idx="9">
                  <c:v>0.35984988439484816</c:v>
                </c:pt>
                <c:pt idx="10">
                  <c:v>0.37444886648170556</c:v>
                </c:pt>
                <c:pt idx="11">
                  <c:v>0.37532386404864054</c:v>
                </c:pt>
                <c:pt idx="12">
                  <c:v>0.3737973739496467</c:v>
                </c:pt>
                <c:pt idx="13">
                  <c:v>0.34365247083760536</c:v>
                </c:pt>
                <c:pt idx="14">
                  <c:v>0.2904688444232866</c:v>
                </c:pt>
                <c:pt idx="15">
                  <c:v>0.2806145226189681</c:v>
                </c:pt>
                <c:pt idx="16">
                  <c:v>0.2455444788501251</c:v>
                </c:pt>
                <c:pt idx="17">
                  <c:v>0.23386047120503772</c:v>
                </c:pt>
                <c:pt idx="18">
                  <c:v>0.2760341666364989</c:v>
                </c:pt>
                <c:pt idx="19">
                  <c:v>0.26386631400356064</c:v>
                </c:pt>
                <c:pt idx="20">
                  <c:v>0.28338861174761004</c:v>
                </c:pt>
                <c:pt idx="21">
                  <c:v>0.27833770477294656</c:v>
                </c:pt>
                <c:pt idx="22">
                  <c:v>0.2621971887551606</c:v>
                </c:pt>
                <c:pt idx="23">
                  <c:v>0.2599427417600086</c:v>
                </c:pt>
                <c:pt idx="24">
                  <c:v>0.25946874839714457</c:v>
                </c:pt>
                <c:pt idx="25">
                  <c:v>0.2735490164059062</c:v>
                </c:pt>
                <c:pt idx="26">
                  <c:v>0.274662308990986</c:v>
                </c:pt>
                <c:pt idx="27">
                  <c:v>0.28136230896286746</c:v>
                </c:pt>
                <c:pt idx="28">
                  <c:v>0.3011880976412054</c:v>
                </c:pt>
                <c:pt idx="29">
                  <c:v>0.3176594829419824</c:v>
                </c:pt>
                <c:pt idx="30">
                  <c:v>0.33228656515723537</c:v>
                </c:pt>
                <c:pt idx="31">
                  <c:v>0.3295246173194498</c:v>
                </c:pt>
                <c:pt idx="32">
                  <c:v>0.31757831589180563</c:v>
                </c:pt>
                <c:pt idx="33">
                  <c:v>0.3173876973867766</c:v>
                </c:pt>
                <c:pt idx="34">
                  <c:v>0.3195096517562022</c:v>
                </c:pt>
                <c:pt idx="35">
                  <c:v>0.30334036764388805</c:v>
                </c:pt>
                <c:pt idx="36">
                  <c:v>0.28764084272051</c:v>
                </c:pt>
                <c:pt idx="37">
                  <c:v>0.3040104123271524</c:v>
                </c:pt>
                <c:pt idx="38">
                  <c:v>0.3128983494098098</c:v>
                </c:pt>
                <c:pt idx="39">
                  <c:v>0.3393847879452776</c:v>
                </c:pt>
                <c:pt idx="40">
                  <c:v>0.4019508787180812</c:v>
                </c:pt>
                <c:pt idx="41">
                  <c:v>0.4010863800142121</c:v>
                </c:pt>
                <c:pt idx="42">
                  <c:v>0.399535567245334</c:v>
                </c:pt>
                <c:pt idx="43">
                  <c:v>0.33516365541286686</c:v>
                </c:pt>
                <c:pt idx="44">
                  <c:v>0.22587019730625002</c:v>
                </c:pt>
                <c:pt idx="45">
                  <c:v>0.22521346825703625</c:v>
                </c:pt>
                <c:pt idx="46">
                  <c:v>0.2293213910298323</c:v>
                </c:pt>
                <c:pt idx="47">
                  <c:v>0.26687445644544777</c:v>
                </c:pt>
                <c:pt idx="48">
                  <c:v>0.2975964289459905</c:v>
                </c:pt>
                <c:pt idx="49">
                  <c:v>0.34219290819875736</c:v>
                </c:pt>
                <c:pt idx="50">
                  <c:v>0.3853243708931411</c:v>
                </c:pt>
                <c:pt idx="51">
                  <c:v>0.38145847143257205</c:v>
                </c:pt>
                <c:pt idx="52">
                  <c:v>0.33316764028386625</c:v>
                </c:pt>
                <c:pt idx="53">
                  <c:v>0.3562989981725756</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9:$B$120</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0.8082651902602105</c:v>
                </c:pt>
              </c:numCache>
            </c:numRef>
          </c:xVal>
          <c:yVal>
            <c:numRef>
              <c:f>Sheet1!$B$123:$B$124</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0.8082651902602105</c:v>
                </c:pt>
                <c:pt idx="1">
                  <c:v>0.8082651902602105</c:v>
                </c:pt>
              </c:numCache>
            </c:numRef>
          </c:xVal>
          <c:yVal>
            <c:numRef>
              <c:f>Sheet1!$B$127:$B$128</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0.8573344294665443</c:v>
                </c:pt>
              </c:numCache>
            </c:numRef>
          </c:xVal>
          <c:yVal>
            <c:numRef>
              <c:f>Sheet1!$B$131:$B$132</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0.8573344294665443</c:v>
                </c:pt>
                <c:pt idx="1">
                  <c:v>0.8573344294665443</c:v>
                </c:pt>
              </c:numCache>
            </c:numRef>
          </c:xVal>
          <c:yVal>
            <c:numRef>
              <c:f>Sheet1!$B$135:$B$136</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0.8573344294665443</c:v>
                </c:pt>
              </c:numCache>
            </c:numRef>
          </c:xVal>
          <c:yVal>
            <c:numRef>
              <c:f>Sheet1!$B$139:$B$140</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0.8573344294665443</c:v>
                </c:pt>
                <c:pt idx="1">
                  <c:v>0.8573344294665443</c:v>
                </c:pt>
              </c:numCache>
            </c:numRef>
          </c:xVal>
          <c:yVal>
            <c:numRef>
              <c:f>Sheet1!$B$143:$B$144</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082651902602105</c:v>
                </c:pt>
                <c:pt idx="54">
                  <c:v>0.8573344294665443</c:v>
                </c:pt>
              </c:numCache>
            </c:numRef>
          </c:xVal>
          <c:yVal>
            <c:numRef>
              <c:f>Sheet1!$B$147:$B$201</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562989981725756</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6763787721123826</c:v>
                </c:pt>
                <c:pt idx="1">
                  <c:v>2.7466181061394384</c:v>
                </c:pt>
                <c:pt idx="2">
                  <c:v>2.7559833506763782</c:v>
                </c:pt>
                <c:pt idx="3">
                  <c:v>2.681321540062435</c:v>
                </c:pt>
                <c:pt idx="4">
                  <c:v>2.781747066492829</c:v>
                </c:pt>
                <c:pt idx="5">
                  <c:v>2.857700312174818</c:v>
                </c:pt>
                <c:pt idx="6">
                  <c:v>2.950497713209578</c:v>
                </c:pt>
                <c:pt idx="7">
                  <c:v>2.9809212319433085</c:v>
                </c:pt>
                <c:pt idx="8">
                  <c:v>2.9558982683982684</c:v>
                </c:pt>
                <c:pt idx="9">
                  <c:v>2.796</c:v>
                </c:pt>
                <c:pt idx="10">
                  <c:v>2.6160249739854318</c:v>
                </c:pt>
                <c:pt idx="11">
                  <c:v>2.627991675338189</c:v>
                </c:pt>
                <c:pt idx="12">
                  <c:v>2.7039542143600417</c:v>
                </c:pt>
                <c:pt idx="13">
                  <c:v>2.7593652445369403</c:v>
                </c:pt>
                <c:pt idx="14">
                  <c:v>2.796098343132015</c:v>
                </c:pt>
                <c:pt idx="15">
                  <c:v>2.712129099427382</c:v>
                </c:pt>
                <c:pt idx="16">
                  <c:v>2.796698978255174</c:v>
                </c:pt>
                <c:pt idx="17">
                  <c:v>2.813995837669095</c:v>
                </c:pt>
                <c:pt idx="18">
                  <c:v>2.8177314211212514</c:v>
                </c:pt>
                <c:pt idx="19">
                  <c:v>2.6956295525494274</c:v>
                </c:pt>
                <c:pt idx="20">
                  <c:v>2.648803329864724</c:v>
                </c:pt>
                <c:pt idx="21">
                  <c:v>2.5223841749089018</c:v>
                </c:pt>
                <c:pt idx="22">
                  <c:v>2.366285119667013</c:v>
                </c:pt>
                <c:pt idx="23">
                  <c:v>2.394152962672931</c:v>
                </c:pt>
                <c:pt idx="24">
                  <c:v>2.586062132661629</c:v>
                </c:pt>
                <c:pt idx="25">
                  <c:v>2.8786324786324786</c:v>
                </c:pt>
                <c:pt idx="26">
                  <c:v>3.0827625570776256</c:v>
                </c:pt>
                <c:pt idx="27">
                  <c:v>3.005235602094241</c:v>
                </c:pt>
                <c:pt idx="28">
                  <c:v>2.882751433038041</c:v>
                </c:pt>
                <c:pt idx="29">
                  <c:v>2.8746097814776275</c:v>
                </c:pt>
                <c:pt idx="30">
                  <c:v>2.885528031290743</c:v>
                </c:pt>
                <c:pt idx="31">
                  <c:v>2.883194588969823</c:v>
                </c:pt>
                <c:pt idx="32">
                  <c:v>2.878772112382934</c:v>
                </c:pt>
                <c:pt idx="33">
                  <c:v>2.8495945592466647</c:v>
                </c:pt>
                <c:pt idx="34">
                  <c:v>2.84261186264308</c:v>
                </c:pt>
                <c:pt idx="35">
                  <c:v>2.849115504682622</c:v>
                </c:pt>
                <c:pt idx="36">
                  <c:v>2.8707075962539017</c:v>
                </c:pt>
                <c:pt idx="37">
                  <c:v>2.900624349635796</c:v>
                </c:pt>
                <c:pt idx="38">
                  <c:v>2.8949011446409987</c:v>
                </c:pt>
                <c:pt idx="39">
                  <c:v>2.9045265348595213</c:v>
                </c:pt>
                <c:pt idx="40">
                  <c:v>2.903746097814776</c:v>
                </c:pt>
                <c:pt idx="41">
                  <c:v>2.8384495317377727</c:v>
                </c:pt>
                <c:pt idx="42">
                  <c:v>2.74102030192608</c:v>
                </c:pt>
                <c:pt idx="43">
                  <c:v>2.6826143790849675</c:v>
                </c:pt>
                <c:pt idx="44">
                  <c:v>2.4383454734651404</c:v>
                </c:pt>
                <c:pt idx="45">
                  <c:v>2.4266389177939645</c:v>
                </c:pt>
                <c:pt idx="46">
                  <c:v>2.4642576590730556</c:v>
                </c:pt>
                <c:pt idx="47">
                  <c:v>2.7700312174817894</c:v>
                </c:pt>
                <c:pt idx="48">
                  <c:v>2.773933402705515</c:v>
                </c:pt>
                <c:pt idx="49">
                  <c:v>2.8051508844953172</c:v>
                </c:pt>
                <c:pt idx="50">
                  <c:v>2.8152004164497657</c:v>
                </c:pt>
                <c:pt idx="51">
                  <c:v>2.554455445544555</c:v>
                </c:pt>
                <c:pt idx="52">
                  <c:v>2.331671477302545</c:v>
                </c:pt>
                <c:pt idx="53">
                  <c:v>2.3076522644456015</c:v>
                </c:pt>
                <c:pt idx="54">
                  <c:v>2.3152004164497657</c:v>
                </c:pt>
                <c:pt idx="55">
                  <c:v>2.558018252933507</c:v>
                </c:pt>
                <c:pt idx="56">
                  <c:v>2.915018706574025</c:v>
                </c:pt>
                <c:pt idx="57">
                  <c:v>2.9192708333333335</c:v>
                </c:pt>
                <c:pt idx="58">
                  <c:v>2.9448239621650028</c:v>
                </c:pt>
                <c:pt idx="59">
                  <c:v>2.9194771241830066</c:v>
                </c:pt>
                <c:pt idx="60">
                  <c:v>2.8673844537815127</c:v>
                </c:pt>
                <c:pt idx="61">
                  <c:v>2.8437829293993677</c:v>
                </c:pt>
                <c:pt idx="62">
                  <c:v>2.796136778908901</c:v>
                </c:pt>
                <c:pt idx="63">
                  <c:v>2.799164272656046</c:v>
                </c:pt>
                <c:pt idx="64">
                  <c:v>2.791036998436686</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950038337310111</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950038337310111</c:v>
                </c:pt>
                <c:pt idx="1">
                  <c:v>1.950038337310111</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2.081742462065514</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2.081742462065514</c:v>
                </c:pt>
                <c:pt idx="1">
                  <c:v>2.081742462065514</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2.081742462065514</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2.081742462065514</c:v>
                </c:pt>
                <c:pt idx="1">
                  <c:v>2.081742462065514</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2.635842667361292</c:v>
                </c:pt>
                <c:pt idx="1">
                  <c:v>2.456295525494277</c:v>
                </c:pt>
                <c:pt idx="2">
                  <c:v>2.465920915712799</c:v>
                </c:pt>
                <c:pt idx="3">
                  <c:v>2.595993756503642</c:v>
                </c:pt>
                <c:pt idx="4">
                  <c:v>2.6493236212278872</c:v>
                </c:pt>
                <c:pt idx="5">
                  <c:v>2.6396255850234014</c:v>
                </c:pt>
                <c:pt idx="6">
                  <c:v>2.5814255983350676</c:v>
                </c:pt>
                <c:pt idx="7">
                  <c:v>2.5403645833333335</c:v>
                </c:pt>
                <c:pt idx="8">
                  <c:v>2.368106139438085</c:v>
                </c:pt>
                <c:pt idx="9">
                  <c:v>2.184217471628398</c:v>
                </c:pt>
                <c:pt idx="10">
                  <c:v>2.1913596607474157</c:v>
                </c:pt>
                <c:pt idx="11">
                  <c:v>2.169299631384939</c:v>
                </c:pt>
                <c:pt idx="12">
                  <c:v>2.146277980218636</c:v>
                </c:pt>
                <c:pt idx="13">
                  <c:v>2.3011452368558043</c:v>
                </c:pt>
                <c:pt idx="14">
                  <c:v>2.5902236089443575</c:v>
                </c:pt>
                <c:pt idx="15">
                  <c:v>2.6388455538221525</c:v>
                </c:pt>
                <c:pt idx="16">
                  <c:v>2.643525741029641</c:v>
                </c:pt>
                <c:pt idx="17">
                  <c:v>2.545501820072803</c:v>
                </c:pt>
                <c:pt idx="18">
                  <c:v>2.3512740509620387</c:v>
                </c:pt>
                <c:pt idx="19">
                  <c:v>2.406916276651066</c:v>
                </c:pt>
                <c:pt idx="20">
                  <c:v>2.49869994799792</c:v>
                </c:pt>
                <c:pt idx="21">
                  <c:v>2.627145085803432</c:v>
                </c:pt>
                <c:pt idx="22">
                  <c:v>2.6305252210088406</c:v>
                </c:pt>
                <c:pt idx="23">
                  <c:v>2.635725429017161</c:v>
                </c:pt>
                <c:pt idx="24">
                  <c:v>2.6341653666146643</c:v>
                </c:pt>
                <c:pt idx="25">
                  <c:v>2.6339053562142483</c:v>
                </c:pt>
                <c:pt idx="26">
                  <c:v>2.6305252210088406</c:v>
                </c:pt>
                <c:pt idx="27">
                  <c:v>2.625585023400936</c:v>
                </c:pt>
                <c:pt idx="28">
                  <c:v>2.514560582423297</c:v>
                </c:pt>
                <c:pt idx="29">
                  <c:v>2.449557982319293</c:v>
                </c:pt>
                <c:pt idx="30">
                  <c:v>2.2532501300052004</c:v>
                </c:pt>
                <c:pt idx="31">
                  <c:v>2.148985959438378</c:v>
                </c:pt>
                <c:pt idx="32">
                  <c:v>2.1794071762870515</c:v>
                </c:pt>
                <c:pt idx="33">
                  <c:v>2.172386895475819</c:v>
                </c:pt>
                <c:pt idx="34">
                  <c:v>2.1645865834633384</c:v>
                </c:pt>
                <c:pt idx="35">
                  <c:v>2.416276651066042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4.0492</c:v>
                </c:pt>
                <c:pt idx="45">
                  <c:v>2.9824665676077267</c:v>
                </c:pt>
                <c:pt idx="46">
                  <c:v>2.928974739970282</c:v>
                </c:pt>
                <c:pt idx="47">
                  <c:v>2.5548621944877796</c:v>
                </c:pt>
                <c:pt idx="48">
                  <c:v>2.3299531981279253</c:v>
                </c:pt>
                <c:pt idx="49">
                  <c:v>2.080863234529381</c:v>
                </c:pt>
                <c:pt idx="50">
                  <c:v>2.091263650546022</c:v>
                </c:pt>
                <c:pt idx="51">
                  <c:v>2.081742462065514</c:v>
                </c:pt>
                <c:pt idx="52">
                  <c:v>1.950038337310111</c:v>
                </c:pt>
                <c:pt idx="53">
                  <c:v>2.081742462065514</c:v>
                </c:pt>
              </c:numCache>
            </c:numRef>
          </c:xVal>
          <c:yVal>
            <c:numRef>
              <c:f>Sheet1!$B$146:$B$199</c:f>
              <c:numCache>
                <c:formatCode>General</c:formatCode>
                <c:ptCount val="54"/>
                <c:pt idx="0">
                  <c:v>0.28465793065126094</c:v>
                </c:pt>
                <c:pt idx="1">
                  <c:v>0.30341393487887197</c:v>
                </c:pt>
                <c:pt idx="2">
                  <c:v>0.3024084392872756</c:v>
                </c:pt>
                <c:pt idx="3">
                  <c:v>0.28882066102245985</c:v>
                </c:pt>
                <c:pt idx="4">
                  <c:v>0.2832496719338854</c:v>
                </c:pt>
                <c:pt idx="5">
                  <c:v>0.28426275633143927</c:v>
                </c:pt>
                <c:pt idx="6">
                  <c:v>0.2903424921881192</c:v>
                </c:pt>
                <c:pt idx="7">
                  <c:v>0.2946318423997363</c:v>
                </c:pt>
                <c:pt idx="8">
                  <c:v>0.31262644854241706</c:v>
                </c:pt>
                <c:pt idx="9">
                  <c:v>0.3318359808968938</c:v>
                </c:pt>
                <c:pt idx="10">
                  <c:v>0.3310898875427043</c:v>
                </c:pt>
                <c:pt idx="11">
                  <c:v>0.3333943408449479</c:v>
                </c:pt>
                <c:pt idx="12">
                  <c:v>0.33579924789115184</c:v>
                </c:pt>
                <c:pt idx="13">
                  <c:v>0.31962137454824635</c:v>
                </c:pt>
                <c:pt idx="14">
                  <c:v>0.2894234270196821</c:v>
                </c:pt>
                <c:pt idx="15">
                  <c:v>0.2843442406054642</c:v>
                </c:pt>
                <c:pt idx="16">
                  <c:v>0.2838553349613149</c:v>
                </c:pt>
                <c:pt idx="17">
                  <c:v>0.29409519206377555</c:v>
                </c:pt>
                <c:pt idx="18">
                  <c:v>0.31438477629597206</c:v>
                </c:pt>
                <c:pt idx="19">
                  <c:v>0.30857223141553025</c:v>
                </c:pt>
                <c:pt idx="20">
                  <c:v>0.29898424850526867</c:v>
                </c:pt>
                <c:pt idx="21">
                  <c:v>0.2855665047158375</c:v>
                </c:pt>
                <c:pt idx="22">
                  <c:v>0.2852134061950629</c:v>
                </c:pt>
                <c:pt idx="23">
                  <c:v>0.2846701777015637</c:v>
                </c:pt>
                <c:pt idx="24">
                  <c:v>0.28483314624961353</c:v>
                </c:pt>
                <c:pt idx="25">
                  <c:v>0.2848603076742885</c:v>
                </c:pt>
                <c:pt idx="26">
                  <c:v>0.2852134061950629</c:v>
                </c:pt>
                <c:pt idx="27">
                  <c:v>0.28572947326388726</c:v>
                </c:pt>
                <c:pt idx="28">
                  <c:v>0.29732740160009596</c:v>
                </c:pt>
                <c:pt idx="29">
                  <c:v>0.3041177577688365</c:v>
                </c:pt>
                <c:pt idx="30">
                  <c:v>0.3246246333984327</c:v>
                </c:pt>
                <c:pt idx="31">
                  <c:v>0.3355163646930925</c:v>
                </c:pt>
                <c:pt idx="32">
                  <c:v>0.33233847800612193</c:v>
                </c:pt>
                <c:pt idx="33">
                  <c:v>0.33307183647234595</c:v>
                </c:pt>
                <c:pt idx="34">
                  <c:v>0.3338866792125948</c:v>
                </c:pt>
                <c:pt idx="35">
                  <c:v>0.3075944201272316</c:v>
                </c:pt>
                <c:pt idx="36">
                  <c:v>0.2903469154586308</c:v>
                </c:pt>
                <c:pt idx="37">
                  <c:v>0.2973817244494459</c:v>
                </c:pt>
                <c:pt idx="38">
                  <c:v>0.30232510374028904</c:v>
                </c:pt>
                <c:pt idx="39">
                  <c:v>0.3221257823283362</c:v>
                </c:pt>
                <c:pt idx="40">
                  <c:v>0.3707447324965182</c:v>
                </c:pt>
                <c:pt idx="41">
                  <c:v>0.37012001972899405</c:v>
                </c:pt>
                <c:pt idx="42">
                  <c:v>0.35400293087093293</c:v>
                </c:pt>
                <c:pt idx="43">
                  <c:v>0.2594349923080827</c:v>
                </c:pt>
                <c:pt idx="44">
                  <c:v>0.13701461073848303</c:v>
                </c:pt>
                <c:pt idx="45">
                  <c:v>0.24844861386231176</c:v>
                </c:pt>
                <c:pt idx="46">
                  <c:v>0.25403652205666033</c:v>
                </c:pt>
                <c:pt idx="47">
                  <c:v>0.2931173807754769</c:v>
                </c:pt>
                <c:pt idx="48">
                  <c:v>0.31661201311931897</c:v>
                </c:pt>
                <c:pt idx="49">
                  <c:v>0.3426326579579325</c:v>
                </c:pt>
                <c:pt idx="50">
                  <c:v>0.341546200970934</c:v>
                </c:pt>
                <c:pt idx="51">
                  <c:v>0.3425408113531174</c:v>
                </c:pt>
                <c:pt idx="52">
                  <c:v>0.3562989981725756</c:v>
                </c:pt>
                <c:pt idx="53">
                  <c:v>0.34254081135311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5.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bg P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24887412475301535</c:v>
                </c:pt>
                <c:pt idx="1">
                  <c:v>0.2605096371526353</c:v>
                </c:pt>
                <c:pt idx="2">
                  <c:v>0.27571204661278215</c:v>
                </c:pt>
                <c:pt idx="3">
                  <c:v>0.31401002701549174</c:v>
                </c:pt>
                <c:pt idx="4">
                  <c:v>0.31421813492356054</c:v>
                </c:pt>
                <c:pt idx="5">
                  <c:v>0.2784292702539704</c:v>
                </c:pt>
                <c:pt idx="6">
                  <c:v>0.2827536913744993</c:v>
                </c:pt>
                <c:pt idx="7">
                  <c:v>0.29303328136021084</c:v>
                </c:pt>
                <c:pt idx="8">
                  <c:v>0.32419991556618794</c:v>
                </c:pt>
                <c:pt idx="9">
                  <c:v>0.34416190613841585</c:v>
                </c:pt>
                <c:pt idx="10">
                  <c:v>0.38201544263648307</c:v>
                </c:pt>
                <c:pt idx="11">
                  <c:v>0.37615263718992825</c:v>
                </c:pt>
                <c:pt idx="12">
                  <c:v>0.3540324099259321</c:v>
                </c:pt>
                <c:pt idx="13">
                  <c:v>0.3674321113585192</c:v>
                </c:pt>
                <c:pt idx="14">
                  <c:v>0.37430431803580866</c:v>
                </c:pt>
                <c:pt idx="15">
                  <c:v>0.38592136496728563</c:v>
                </c:pt>
                <c:pt idx="16">
                  <c:v>0.3415188626474534</c:v>
                </c:pt>
                <c:pt idx="17">
                  <c:v>0.30874182921271703</c:v>
                </c:pt>
                <c:pt idx="18">
                  <c:v>0.27975204794912</c:v>
                </c:pt>
                <c:pt idx="19">
                  <c:v>0.3073671198726588</c:v>
                </c:pt>
                <c:pt idx="20">
                  <c:v>0.3214713688949614</c:v>
                </c:pt>
                <c:pt idx="21">
                  <c:v>0.34288707380550965</c:v>
                </c:pt>
                <c:pt idx="22">
                  <c:v>0.4040814537896754</c:v>
                </c:pt>
                <c:pt idx="23">
                  <c:v>0.4241767759583652</c:v>
                </c:pt>
                <c:pt idx="24">
                  <c:v>0.4202002398254764</c:v>
                </c:pt>
                <c:pt idx="25">
                  <c:v>0.4137564312609583</c:v>
                </c:pt>
                <c:pt idx="26">
                  <c:v>0.3465369804790373</c:v>
                </c:pt>
                <c:pt idx="27">
                  <c:v>0.32826152455558905</c:v>
                </c:pt>
                <c:pt idx="28">
                  <c:v>0.3275729722282363</c:v>
                </c:pt>
                <c:pt idx="29">
                  <c:v>0.29014832103598853</c:v>
                </c:pt>
                <c:pt idx="30">
                  <c:v>0.26497029242595</c:v>
                </c:pt>
                <c:pt idx="31">
                  <c:v>0.273722489937744</c:v>
                </c:pt>
                <c:pt idx="32">
                  <c:v>0.27114100347392966</c:v>
                </c:pt>
                <c:pt idx="33">
                  <c:v>0.3351889288410483</c:v>
                </c:pt>
                <c:pt idx="34">
                  <c:v>0.3425224145427198</c:v>
                </c:pt>
                <c:pt idx="35">
                  <c:v>0.3205876098787045</c:v>
                </c:pt>
                <c:pt idx="36">
                  <c:v>0.30466576841578435</c:v>
                </c:pt>
                <c:pt idx="37">
                  <c:v>0.2967609840581022</c:v>
                </c:pt>
                <c:pt idx="38">
                  <c:v>0.3289272079358431</c:v>
                </c:pt>
                <c:pt idx="39">
                  <c:v>0.3215831316621259</c:v>
                </c:pt>
                <c:pt idx="40">
                  <c:v>0.32037955901080734</c:v>
                </c:pt>
                <c:pt idx="41">
                  <c:v>0.3453598948534907</c:v>
                </c:pt>
                <c:pt idx="42">
                  <c:v>0.3655293147272207</c:v>
                </c:pt>
                <c:pt idx="43">
                  <c:v>0.3677815057428414</c:v>
                </c:pt>
                <c:pt idx="44">
                  <c:v>0.3494822084270166</c:v>
                </c:pt>
                <c:pt idx="45">
                  <c:v>0.3464543712221731</c:v>
                </c:pt>
                <c:pt idx="46">
                  <c:v>0.35929723051242435</c:v>
                </c:pt>
                <c:pt idx="47">
                  <c:v>0.3543063218911962</c:v>
                </c:pt>
                <c:pt idx="48">
                  <c:v>0.34471428069770593</c:v>
                </c:pt>
                <c:pt idx="49">
                  <c:v>0.33030827553421016</c:v>
                </c:pt>
                <c:pt idx="50">
                  <c:v>0.3457254448141183</c:v>
                </c:pt>
                <c:pt idx="51">
                  <c:v>0.35372776759543373</c:v>
                </c:pt>
                <c:pt idx="52">
                  <c:v>0.37404928302190504</c:v>
                </c:pt>
                <c:pt idx="53">
                  <c:v>0.36823449573456124</c:v>
                </c:pt>
                <c:pt idx="54">
                  <c:v>0.360334832212271</c:v>
                </c:pt>
                <c:pt idx="55">
                  <c:v>0.36105806014519415</c:v>
                </c:pt>
                <c:pt idx="56">
                  <c:v>0.32292707519870684</c:v>
                </c:pt>
                <c:pt idx="57">
                  <c:v>0.2677196231388998</c:v>
                </c:pt>
                <c:pt idx="58">
                  <c:v>0.26042701959692993</c:v>
                </c:pt>
                <c:pt idx="59">
                  <c:v>0.2626236887016889</c:v>
                </c:pt>
                <c:pt idx="60">
                  <c:v>0.3166123385246891</c:v>
                </c:pt>
                <c:pt idx="61">
                  <c:v>0.3617716604994042</c:v>
                </c:pt>
                <c:pt idx="62">
                  <c:v>0.37243243385991875</c:v>
                </c:pt>
                <c:pt idx="63">
                  <c:v>0.3478958201046616</c:v>
                </c:pt>
                <c:pt idx="64">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numCache>
            </c:numRef>
          </c:xVal>
          <c:yVal>
            <c:numRef>
              <c:f>Sheet1!$B$69:$B$119</c:f>
              <c:numCache>
                <c:formatCode>General</c:formatCode>
                <c:ptCount val="51"/>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21329283020811</c:v>
                </c:pt>
                <c:pt idx="46">
                  <c:v>0.2725506166271589</c:v>
                </c:pt>
                <c:pt idx="47">
                  <c:v>0.31830606090696717</c:v>
                </c:pt>
                <c:pt idx="48">
                  <c:v>0.3577092100080844</c:v>
                </c:pt>
                <c:pt idx="49">
                  <c:v>0.3950076524567908</c:v>
                </c:pt>
                <c:pt idx="50">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0.8078932876080487</c:v>
                </c:pt>
              </c:numCache>
            </c:numRef>
          </c:xVal>
          <c:yVal>
            <c:numRef>
              <c:f>Sheet1!$B$122:$B$123</c:f>
              <c:numCache>
                <c:formatCode>General</c:formatCode>
                <c:ptCount val="2"/>
                <c:pt idx="0">
                  <c:v>0.3562989981725756</c:v>
                </c:pt>
                <c:pt idx="1">
                  <c:v>0.3562989981725756</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0.8078932876080487</c:v>
                </c:pt>
                <c:pt idx="1">
                  <c:v>0.8078932876080487</c:v>
                </c:pt>
              </c:numCache>
            </c:numRef>
          </c:xVal>
          <c:yVal>
            <c:numRef>
              <c:f>Sheet1!$B$126:$B$127</c:f>
              <c:numCache>
                <c:formatCode>General</c:formatCode>
                <c:ptCount val="2"/>
                <c:pt idx="0">
                  <c:v>0.356298998172575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0.8376002389000967</c:v>
                </c:pt>
              </c:numCache>
            </c:numRef>
          </c:xVal>
          <c:yVal>
            <c:numRef>
              <c:f>Sheet1!$B$130:$B$131</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0.8376002389000967</c:v>
                </c:pt>
                <c:pt idx="1">
                  <c:v>0.8376002389000967</c:v>
                </c:pt>
              </c:numCache>
            </c:numRef>
          </c:xVal>
          <c:yVal>
            <c:numRef>
              <c:f>Sheet1!$B$134:$B$135</c:f>
              <c:numCache>
                <c:formatCode>General</c:formatCode>
                <c:ptCount val="2"/>
                <c:pt idx="0">
                  <c:v>0.342540811353117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0.8376002389000967</c:v>
                </c:pt>
              </c:numCache>
            </c:numRef>
          </c:xVal>
          <c:yVal>
            <c:numRef>
              <c:f>Sheet1!$B$138:$B$139</c:f>
              <c:numCache>
                <c:formatCode>General</c:formatCode>
                <c:ptCount val="2"/>
                <c:pt idx="0">
                  <c:v>0.3425408113531174</c:v>
                </c:pt>
                <c:pt idx="1">
                  <c:v>0.342540811353117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0.8376002389000967</c:v>
                </c:pt>
                <c:pt idx="1">
                  <c:v>0.8376002389000967</c:v>
                </c:pt>
              </c:numCache>
            </c:numRef>
          </c:xVal>
          <c:yVal>
            <c:numRef>
              <c:f>Sheet1!$B$142:$B$143</c:f>
              <c:numCache>
                <c:formatCode>General</c:formatCode>
                <c:ptCount val="2"/>
                <c:pt idx="0">
                  <c:v>0.342540811353117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036</c:v>
                </c:pt>
                <c:pt idx="46">
                  <c:v>0.9856</c:v>
                </c:pt>
                <c:pt idx="47">
                  <c:v>0.9826</c:v>
                </c:pt>
                <c:pt idx="48">
                  <c:v>0.8961</c:v>
                </c:pt>
                <c:pt idx="49">
                  <c:v>0.8003</c:v>
                </c:pt>
                <c:pt idx="50">
                  <c:v>0.8043</c:v>
                </c:pt>
                <c:pt idx="51">
                  <c:v>0.8376002389000967</c:v>
                </c:pt>
                <c:pt idx="52">
                  <c:v>0.8078932876080487</c:v>
                </c:pt>
                <c:pt idx="53">
                  <c:v>0.8376002389000967</c:v>
                </c:pt>
              </c:numCache>
            </c:numRef>
          </c:xVal>
          <c:yVal>
            <c:numRef>
              <c:f>Sheet1!$B$146:$B$199</c:f>
              <c:numCache>
                <c:formatCode>General</c:formatCode>
                <c:ptCount val="54"/>
                <c:pt idx="0">
                  <c:v>0.2618173250476981</c:v>
                </c:pt>
                <c:pt idx="1">
                  <c:v>0.29317124078682827</c:v>
                </c:pt>
                <c:pt idx="2">
                  <c:v>0.2914576589812924</c:v>
                </c:pt>
                <c:pt idx="3">
                  <c:v>0.26830114809567185</c:v>
                </c:pt>
                <c:pt idx="4">
                  <c:v>0.25880697863256746</c:v>
                </c:pt>
                <c:pt idx="5">
                  <c:v>0.26028899532924715</c:v>
                </c:pt>
                <c:pt idx="6">
                  <c:v>0.2708946773148614</c:v>
                </c:pt>
                <c:pt idx="7">
                  <c:v>0.27867526497242984</c:v>
                </c:pt>
                <c:pt idx="8">
                  <c:v>0.30887135516727904</c:v>
                </c:pt>
                <c:pt idx="9">
                  <c:v>0.34717222417209537</c:v>
                </c:pt>
                <c:pt idx="10">
                  <c:v>0.34754272834626526</c:v>
                </c:pt>
                <c:pt idx="11">
                  <c:v>0.34888580597763125</c:v>
                </c:pt>
                <c:pt idx="12">
                  <c:v>0.34856161482523257</c:v>
                </c:pt>
                <c:pt idx="13">
                  <c:v>0.3210053668713442</c:v>
                </c:pt>
                <c:pt idx="14">
                  <c:v>0.26908846946578296</c:v>
                </c:pt>
                <c:pt idx="15">
                  <c:v>0.26042793439456097</c:v>
                </c:pt>
                <c:pt idx="16">
                  <c:v>0.2595943000026786</c:v>
                </c:pt>
                <c:pt idx="17">
                  <c:v>0.27705430921043644</c:v>
                </c:pt>
                <c:pt idx="18">
                  <c:v>0.3116501364735535</c:v>
                </c:pt>
                <c:pt idx="19">
                  <c:v>0.3017391498145079</c:v>
                </c:pt>
                <c:pt idx="20">
                  <c:v>0.2853906531292598</c:v>
                </c:pt>
                <c:pt idx="21">
                  <c:v>0.26251202037426674</c:v>
                </c:pt>
                <c:pt idx="22">
                  <c:v>0.2619099510912406</c:v>
                </c:pt>
                <c:pt idx="23">
                  <c:v>0.2609836906558158</c:v>
                </c:pt>
                <c:pt idx="24">
                  <c:v>0.2612615687864433</c:v>
                </c:pt>
                <c:pt idx="25">
                  <c:v>0.2613078818082145</c:v>
                </c:pt>
                <c:pt idx="26">
                  <c:v>0.2619099510912406</c:v>
                </c:pt>
                <c:pt idx="27">
                  <c:v>0.2627898985048942</c:v>
                </c:pt>
                <c:pt idx="28">
                  <c:v>0.28256555880121415</c:v>
                </c:pt>
                <c:pt idx="29">
                  <c:v>0.29414381424402436</c:v>
                </c:pt>
                <c:pt idx="30">
                  <c:v>0.3291101456813113</c:v>
                </c:pt>
                <c:pt idx="31">
                  <c:v>0.34768166741157897</c:v>
                </c:pt>
                <c:pt idx="32">
                  <c:v>0.3422630438643438</c:v>
                </c:pt>
                <c:pt idx="33">
                  <c:v>0.3435134954521673</c:v>
                </c:pt>
                <c:pt idx="34">
                  <c:v>0.3449028861053045</c:v>
                </c:pt>
                <c:pt idx="35">
                  <c:v>0.3000718810307432</c:v>
                </c:pt>
                <c:pt idx="36">
                  <c:v>0.27066311220600514</c:v>
                </c:pt>
                <c:pt idx="37">
                  <c:v>0.2826581848447566</c:v>
                </c:pt>
                <c:pt idx="38">
                  <c:v>0.29108715480712244</c:v>
                </c:pt>
                <c:pt idx="39">
                  <c:v>0.32484934767835716</c:v>
                </c:pt>
                <c:pt idx="40">
                  <c:v>0.40774965664887863</c:v>
                </c:pt>
                <c:pt idx="41">
                  <c:v>0.40668445714814005</c:v>
                </c:pt>
                <c:pt idx="42">
                  <c:v>0.4073328394529374</c:v>
                </c:pt>
                <c:pt idx="43">
                  <c:v>0.34601439862781436</c:v>
                </c:pt>
                <c:pt idx="44">
                  <c:v>0.2616320729606132</c:v>
                </c:pt>
                <c:pt idx="45">
                  <c:v>0.2656613058547111</c:v>
                </c:pt>
                <c:pt idx="46">
                  <c:v>0.2739976497735345</c:v>
                </c:pt>
                <c:pt idx="47">
                  <c:v>0.2753870404266717</c:v>
                </c:pt>
                <c:pt idx="48">
                  <c:v>0.31544780425879526</c:v>
                </c:pt>
                <c:pt idx="49">
                  <c:v>0.35981567911564416</c:v>
                </c:pt>
                <c:pt idx="50">
                  <c:v>0.35796315824479447</c:v>
                </c:pt>
                <c:pt idx="51">
                  <c:v>0.3425408113531174</c:v>
                </c:pt>
                <c:pt idx="52">
                  <c:v>0.3562989981725756</c:v>
                </c:pt>
                <c:pt idx="53">
                  <c:v>0.34254081135311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90121311500383"/>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6449677516124195</c:v>
                </c:pt>
                <c:pt idx="1">
                  <c:v>1.6598170091495428</c:v>
                </c:pt>
                <c:pt idx="2">
                  <c:v>7.07997440818938</c:v>
                </c:pt>
                <c:pt idx="3">
                  <c:v>1.8676495799759985</c:v>
                </c:pt>
                <c:pt idx="4">
                  <c:v>28.961038961038962</c:v>
                </c:pt>
                <c:pt idx="5">
                  <c:v>19.35008665511265</c:v>
                </c:pt>
                <c:pt idx="6">
                  <c:v>16.244367417677644</c:v>
                </c:pt>
                <c:pt idx="7">
                  <c:v>16.16637781629116</c:v>
                </c:pt>
                <c:pt idx="8">
                  <c:v>18.745233968804158</c:v>
                </c:pt>
                <c:pt idx="9">
                  <c:v>15.400346620450605</c:v>
                </c:pt>
                <c:pt idx="10">
                  <c:v>0.39945933768866865</c:v>
                </c:pt>
                <c:pt idx="11">
                  <c:v>0.40065762803477317</c:v>
                </c:pt>
                <c:pt idx="12">
                  <c:v>0.4418918918918918</c:v>
                </c:pt>
                <c:pt idx="13">
                  <c:v>0.510578543343943</c:v>
                </c:pt>
                <c:pt idx="14">
                  <c:v>0.5059805912886481</c:v>
                </c:pt>
                <c:pt idx="15">
                  <c:v>0.5149552033080634</c:v>
                </c:pt>
                <c:pt idx="16">
                  <c:v>0.5105847926477984</c:v>
                </c:pt>
                <c:pt idx="17">
                  <c:v>0.516606737320212</c:v>
                </c:pt>
                <c:pt idx="18">
                  <c:v>0.5454223928860145</c:v>
                </c:pt>
                <c:pt idx="19">
                  <c:v>0.5337851305561092</c:v>
                </c:pt>
                <c:pt idx="20">
                  <c:v>0.5417782944952738</c:v>
                </c:pt>
                <c:pt idx="21">
                  <c:v>0.5344242666134504</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096C-4121-9522-6AB7243CCAAE}"/>
            </c:ext>
          </c:extLst>
        </c:ser>
        <c:ser>
          <c:idx val="1"/>
          <c:order val="1"/>
          <c:tx>
            <c:strRef>
              <c:f>Sheet1!$B$2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26:$A$77</c:f>
              <c:numCache>
                <c:formatCode>General</c:formatCode>
                <c:ptCount val="52"/>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096C-4121-9522-6AB7243CCAAE}"/>
            </c:ext>
          </c:extLst>
        </c:ser>
        <c:ser>
          <c:idx val="2"/>
          <c:order val="2"/>
          <c:tx>
            <c:strRef>
              <c:f>Sheet1!$B$7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80:$A$81</c:f>
              <c:numCache>
                <c:formatCode>General</c:formatCode>
                <c:ptCount val="2"/>
                <c:pt idx="0">
                  <c:v>0</c:v>
                </c:pt>
                <c:pt idx="1">
                  <c:v>0.42975774472137046</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5-096C-4121-9522-6AB7243CCAAE}"/>
            </c:ext>
          </c:extLst>
        </c:ser>
        <c:ser>
          <c:idx val="3"/>
          <c:order val="3"/>
          <c:tx>
            <c:strRef>
              <c:f>Sheet1!$B$8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84:$A$85</c:f>
              <c:numCache>
                <c:formatCode>General</c:formatCode>
                <c:ptCount val="2"/>
                <c:pt idx="0">
                  <c:v>0.42975774472137046</c:v>
                </c:pt>
                <c:pt idx="1">
                  <c:v>0.42975774472137046</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8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88:$A$89</c:f>
              <c:numCache>
                <c:formatCode>General</c:formatCode>
                <c:ptCount val="2"/>
                <c:pt idx="0">
                  <c:v>0</c:v>
                </c:pt>
                <c:pt idx="1">
                  <c:v>0.4503011132386134</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D-096C-4121-9522-6AB7243CCAAE}"/>
            </c:ext>
          </c:extLst>
        </c:ser>
        <c:ser>
          <c:idx val="5"/>
          <c:order val="5"/>
          <c:tx>
            <c:strRef>
              <c:f>Sheet1!$B$9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92:$A$93</c:f>
              <c:numCache>
                <c:formatCode>General</c:formatCode>
                <c:ptCount val="2"/>
                <c:pt idx="0">
                  <c:v>0.4503011132386134</c:v>
                </c:pt>
                <c:pt idx="1">
                  <c:v>0.4503011132386134</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9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96:$A$97</c:f>
              <c:numCache>
                <c:formatCode>General</c:formatCode>
                <c:ptCount val="2"/>
                <c:pt idx="0">
                  <c:v>0</c:v>
                </c:pt>
                <c:pt idx="1">
                  <c:v>0.4503011132386134</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5-096C-4121-9522-6AB7243CCAAE}"/>
            </c:ext>
          </c:extLst>
        </c:ser>
        <c:ser>
          <c:idx val="7"/>
          <c:order val="7"/>
          <c:tx>
            <c:strRef>
              <c:f>Sheet1!$B$9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00:$A$101</c:f>
              <c:numCache>
                <c:formatCode>General</c:formatCode>
                <c:ptCount val="2"/>
                <c:pt idx="0">
                  <c:v>0.4503011132386134</c:v>
                </c:pt>
                <c:pt idx="1">
                  <c:v>0.4503011132386134</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0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04:$A$158</c:f>
              <c:numCache>
                <c:formatCode>General</c:formatCode>
                <c:ptCount val="55"/>
                <c:pt idx="0">
                  <c:v>0.4786433943522066</c:v>
                </c:pt>
                <c:pt idx="1">
                  <c:v>0.4272204877607348</c:v>
                </c:pt>
                <c:pt idx="2">
                  <c:v>0.45637939335580163</c:v>
                </c:pt>
                <c:pt idx="3">
                  <c:v>0.5154175920665255</c:v>
                </c:pt>
                <c:pt idx="4">
                  <c:v>0.5645858742654396</c:v>
                </c:pt>
                <c:pt idx="5">
                  <c:v>0.5964747356051705</c:v>
                </c:pt>
                <c:pt idx="6">
                  <c:v>0.5789043813079751</c:v>
                </c:pt>
                <c:pt idx="7">
                  <c:v>0.5656712090461004</c:v>
                </c:pt>
                <c:pt idx="8">
                  <c:v>0.5507290217194023</c:v>
                </c:pt>
                <c:pt idx="9">
                  <c:v>0.45903821620722174</c:v>
                </c:pt>
                <c:pt idx="10">
                  <c:v>0.4798607080673244</c:v>
                </c:pt>
                <c:pt idx="11">
                  <c:v>0.5003643872221547</c:v>
                </c:pt>
                <c:pt idx="12">
                  <c:v>0.5088552915766739</c:v>
                </c:pt>
                <c:pt idx="13">
                  <c:v>0.5809185886063473</c:v>
                </c:pt>
                <c:pt idx="14">
                  <c:v>0.6914694245852709</c:v>
                </c:pt>
                <c:pt idx="15">
                  <c:v>0.7163325804630152</c:v>
                </c:pt>
                <c:pt idx="16">
                  <c:v>0.715331034967987</c:v>
                </c:pt>
                <c:pt idx="17">
                  <c:v>0.6655336505778382</c:v>
                </c:pt>
                <c:pt idx="18">
                  <c:v>0.5926338554295826</c:v>
                </c:pt>
                <c:pt idx="19">
                  <c:v>0.5872240548084242</c:v>
                </c:pt>
                <c:pt idx="20">
                  <c:v>0.626303441084463</c:v>
                </c:pt>
                <c:pt idx="21">
                  <c:v>0.652839697615817</c:v>
                </c:pt>
                <c:pt idx="22">
                  <c:v>0.7208407552547204</c:v>
                </c:pt>
                <c:pt idx="23">
                  <c:v>0.7540727516179424</c:v>
                </c:pt>
                <c:pt idx="24">
                  <c:v>0.8032825880114175</c:v>
                </c:pt>
                <c:pt idx="25">
                  <c:v>0.8529089837501052</c:v>
                </c:pt>
                <c:pt idx="26">
                  <c:v>0.8053653876771215</c:v>
                </c:pt>
                <c:pt idx="27">
                  <c:v>0.6464374879969272</c:v>
                </c:pt>
                <c:pt idx="28">
                  <c:v>0.566815144766147</c:v>
                </c:pt>
                <c:pt idx="29">
                  <c:v>0.49422935683558916</c:v>
                </c:pt>
                <c:pt idx="30">
                  <c:v>0.4587126826169807</c:v>
                </c:pt>
                <c:pt idx="31">
                  <c:v>0.45695803615856695</c:v>
                </c:pt>
                <c:pt idx="32">
                  <c:v>0.4660809608540925</c:v>
                </c:pt>
                <c:pt idx="33">
                  <c:v>0.4607367376199405</c:v>
                </c:pt>
                <c:pt idx="34">
                  <c:v>0.46301446051167966</c:v>
                </c:pt>
                <c:pt idx="35">
                  <c:v>0.49404572036150984</c:v>
                </c:pt>
                <c:pt idx="36">
                  <c:v>0.4721548485280829</c:v>
                </c:pt>
                <c:pt idx="37">
                  <c:v>0.4614613659141889</c:v>
                </c:pt>
                <c:pt idx="38">
                  <c:v>0.4468255463451394</c:v>
                </c:pt>
                <c:pt idx="39">
                  <c:v>0.4208553580009611</c:v>
                </c:pt>
                <c:pt idx="40">
                  <c:v>0.3241834930678329</c:v>
                </c:pt>
                <c:pt idx="41">
                  <c:v>0.33142125722954396</c:v>
                </c:pt>
                <c:pt idx="42">
                  <c:v>0.34473047087306685</c:v>
                </c:pt>
                <c:pt idx="43">
                  <c:v>0.44686692506459946</c:v>
                </c:pt>
                <c:pt idx="44">
                  <c:v>0.5132065906210393</c:v>
                </c:pt>
                <c:pt idx="45">
                  <c:v>0.4904928211098177</c:v>
                </c:pt>
                <c:pt idx="46">
                  <c:v>0.4831271361863958</c:v>
                </c:pt>
                <c:pt idx="47">
                  <c:v>0.46350639578630554</c:v>
                </c:pt>
                <c:pt idx="48">
                  <c:v>0.4681945966550722</c:v>
                </c:pt>
                <c:pt idx="49">
                  <c:v>0.43629193242124736</c:v>
                </c:pt>
                <c:pt idx="50">
                  <c:v>0.4220101244463193</c:v>
                </c:pt>
                <c:pt idx="51">
                  <c:v>0.42380651280429976</c:v>
                </c:pt>
                <c:pt idx="52">
                  <c:v>0.4503011132386134</c:v>
                </c:pt>
                <c:pt idx="53">
                  <c:v>0.42975774472137046</c:v>
                </c:pt>
                <c:pt idx="54">
                  <c:v>0.4503011132386134</c:v>
                </c:pt>
              </c:numCache>
            </c:numRef>
          </c:xVal>
          <c:yVal>
            <c:numRef>
              <c:f>Sheet1!$B$104:$B$158</c:f>
              <c:numCache>
                <c:formatCode>General</c:formatCode>
                <c:ptCount val="55"/>
                <c:pt idx="0">
                  <c:v>0.32262222065839663</c:v>
                </c:pt>
                <c:pt idx="1">
                  <c:v>0.34175533581574785</c:v>
                </c:pt>
                <c:pt idx="2">
                  <c:v>0.3309060716338342</c:v>
                </c:pt>
                <c:pt idx="3">
                  <c:v>0.30893950596323083</c:v>
                </c:pt>
                <c:pt idx="4">
                  <c:v>0.29064527742273477</c:v>
                </c:pt>
                <c:pt idx="5">
                  <c:v>0.2787802682917444</c:v>
                </c:pt>
                <c:pt idx="6">
                  <c:v>0.2853177364048256</c:v>
                </c:pt>
                <c:pt idx="7">
                  <c:v>0.2902414528099482</c:v>
                </c:pt>
                <c:pt idx="8">
                  <c:v>0.29580104890776665</c:v>
                </c:pt>
                <c:pt idx="9">
                  <c:v>0.32991679336912294</c:v>
                </c:pt>
                <c:pt idx="10">
                  <c:v>0.3221692901447831</c:v>
                </c:pt>
                <c:pt idx="11">
                  <c:v>0.31454040876833034</c:v>
                </c:pt>
                <c:pt idx="12">
                  <c:v>0.31138116590219467</c:v>
                </c:pt>
                <c:pt idx="13">
                  <c:v>0.28456830268462197</c:v>
                </c:pt>
                <c:pt idx="14">
                  <c:v>0.2434352354247291</c:v>
                </c:pt>
                <c:pt idx="15">
                  <c:v>0.2341843070716642</c:v>
                </c:pt>
                <c:pt idx="16">
                  <c:v>0.23455695588834696</c:v>
                </c:pt>
                <c:pt idx="17">
                  <c:v>0.2530852568582034</c:v>
                </c:pt>
                <c:pt idx="18">
                  <c:v>0.28020935909147177</c:v>
                </c:pt>
                <c:pt idx="19">
                  <c:v>0.2822222040495609</c:v>
                </c:pt>
                <c:pt idx="20">
                  <c:v>0.26768178913606266</c:v>
                </c:pt>
                <c:pt idx="21">
                  <c:v>0.25780834390098506</c:v>
                </c:pt>
                <c:pt idx="22">
                  <c:v>0.2325069334427401</c:v>
                </c:pt>
                <c:pt idx="23">
                  <c:v>0.22014217898851296</c:v>
                </c:pt>
                <c:pt idx="24">
                  <c:v>0.20183248922183372</c:v>
                </c:pt>
                <c:pt idx="25">
                  <c:v>0.18336780864560848</c:v>
                </c:pt>
                <c:pt idx="26">
                  <c:v>0.2010575340803401</c:v>
                </c:pt>
                <c:pt idx="27">
                  <c:v>0.2601904382246854</c:v>
                </c:pt>
                <c:pt idx="28">
                  <c:v>0.2898158243242202</c:v>
                </c:pt>
                <c:pt idx="29">
                  <c:v>0.316823092705521</c:v>
                </c:pt>
                <c:pt idx="30">
                  <c:v>0.3300379158820752</c:v>
                </c:pt>
                <c:pt idx="31">
                  <c:v>0.33069077381980283</c:v>
                </c:pt>
                <c:pt idx="32">
                  <c:v>0.32729637275729495</c:v>
                </c:pt>
                <c:pt idx="33">
                  <c:v>0.329284818089216</c:v>
                </c:pt>
                <c:pt idx="34">
                  <c:v>0.3284373371264925</c:v>
                </c:pt>
                <c:pt idx="35">
                  <c:v>0.31689141902230356</c:v>
                </c:pt>
                <c:pt idx="36">
                  <c:v>0.32503643842020036</c:v>
                </c:pt>
                <c:pt idx="37">
                  <c:v>0.32901520290176123</c:v>
                </c:pt>
                <c:pt idx="38">
                  <c:v>0.33446080759037833</c:v>
                </c:pt>
                <c:pt idx="39">
                  <c:v>0.3441236336961604</c:v>
                </c:pt>
                <c:pt idx="40">
                  <c:v>0.38009269975724136</c:v>
                </c:pt>
                <c:pt idx="41">
                  <c:v>0.377399717497644</c:v>
                </c:pt>
                <c:pt idx="42">
                  <c:v>0.3724477080883286</c:v>
                </c:pt>
                <c:pt idx="43">
                  <c:v>0.334445411653879</c:v>
                </c:pt>
                <c:pt idx="44">
                  <c:v>0.3097621616253394</c:v>
                </c:pt>
                <c:pt idx="45">
                  <c:v>0.3182133596715388</c:v>
                </c:pt>
                <c:pt idx="46">
                  <c:v>0.32095393789229554</c:v>
                </c:pt>
                <c:pt idx="47">
                  <c:v>0.3282543009100811</c:v>
                </c:pt>
                <c:pt idx="48">
                  <c:v>0.3265099442984347</c:v>
                </c:pt>
                <c:pt idx="49">
                  <c:v>0.338380089124385</c:v>
                </c:pt>
                <c:pt idx="50">
                  <c:v>0.3436939753815417</c:v>
                </c:pt>
                <c:pt idx="51">
                  <c:v>0.34302558637752023</c:v>
                </c:pt>
                <c:pt idx="52">
                  <c:v>0.33316764028386625</c:v>
                </c:pt>
                <c:pt idx="53">
                  <c:v>0.3408112890313585</c:v>
                </c:pt>
                <c:pt idx="54">
                  <c:v>0.3331676402838662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5.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962607320379575</c:v>
                </c:pt>
                <c:pt idx="1">
                  <c:v>6.705085474680141</c:v>
                </c:pt>
                <c:pt idx="2">
                  <c:v>6.753627896902751</c:v>
                </c:pt>
                <c:pt idx="3">
                  <c:v>7.083449533411992</c:v>
                </c:pt>
                <c:pt idx="4">
                  <c:v>6.960998937300745</c:v>
                </c:pt>
                <c:pt idx="5">
                  <c:v>6.922198952879581</c:v>
                </c:pt>
                <c:pt idx="6">
                  <c:v>6.339262516238634</c:v>
                </c:pt>
                <c:pt idx="7">
                  <c:v>6.097599840653322</c:v>
                </c:pt>
                <c:pt idx="8">
                  <c:v>6.24905079527963</c:v>
                </c:pt>
                <c:pt idx="9">
                  <c:v>6.294099538224731</c:v>
                </c:pt>
                <c:pt idx="10">
                  <c:v>6.014572127139364</c:v>
                </c:pt>
                <c:pt idx="11">
                  <c:v>5.059117326552852</c:v>
                </c:pt>
                <c:pt idx="12">
                  <c:v>5.389194404245055</c:v>
                </c:pt>
                <c:pt idx="13">
                  <c:v>5.54424778761062</c:v>
                </c:pt>
                <c:pt idx="14">
                  <c:v>5.3363132834515605</c:v>
                </c:pt>
                <c:pt idx="15">
                  <c:v>4.291563981042654</c:v>
                </c:pt>
                <c:pt idx="16">
                  <c:v>4.288813559322034</c:v>
                </c:pt>
                <c:pt idx="17">
                  <c:v>4.301035358468451</c:v>
                </c:pt>
                <c:pt idx="18">
                  <c:v>4.578907363420428</c:v>
                </c:pt>
                <c:pt idx="19">
                  <c:v>4.449031890660592</c:v>
                </c:pt>
                <c:pt idx="20">
                  <c:v>5.28187156658458</c:v>
                </c:pt>
                <c:pt idx="21">
                  <c:v>5.290509699505515</c:v>
                </c:pt>
                <c:pt idx="22">
                  <c:v>3.5929605449900657</c:v>
                </c:pt>
                <c:pt idx="23">
                  <c:v>2.3281692801813714</c:v>
                </c:pt>
                <c:pt idx="24">
                  <c:v>2.326549491211841</c:v>
                </c:pt>
                <c:pt idx="25">
                  <c:v>2.445074276778733</c:v>
                </c:pt>
                <c:pt idx="26">
                  <c:v>2.5913575374901336</c:v>
                </c:pt>
                <c:pt idx="27">
                  <c:v>2.514583943029949</c:v>
                </c:pt>
                <c:pt idx="28">
                  <c:v>2.323064414129551</c:v>
                </c:pt>
                <c:pt idx="29">
                  <c:v>2.3670464017782713</c:v>
                </c:pt>
                <c:pt idx="30">
                  <c:v>1.6346191122310525</c:v>
                </c:pt>
                <c:pt idx="31">
                  <c:v>1.5217265353418308</c:v>
                </c:pt>
                <c:pt idx="32">
                  <c:v>1.4729310973386804</c:v>
                </c:pt>
                <c:pt idx="33">
                  <c:v>1.5186813186813186</c:v>
                </c:pt>
                <c:pt idx="34">
                  <c:v>1.567411545623836</c:v>
                </c:pt>
                <c:pt idx="35">
                  <c:v>1.6642027455121435</c:v>
                </c:pt>
                <c:pt idx="36">
                  <c:v>1.623103099420583</c:v>
                </c:pt>
                <c:pt idx="37">
                  <c:v>1.6669787473083044</c:v>
                </c:pt>
                <c:pt idx="38">
                  <c:v>1.8355470616340182</c:v>
                </c:pt>
                <c:pt idx="39">
                  <c:v>2.155644297263076</c:v>
                </c:pt>
                <c:pt idx="40">
                  <c:v>2.420532605627176</c:v>
                </c:pt>
                <c:pt idx="41">
                  <c:v>2.6142898634911416</c:v>
                </c:pt>
                <c:pt idx="42">
                  <c:v>2.924661624203822</c:v>
                </c:pt>
                <c:pt idx="43">
                  <c:v>3.0852495230444825</c:v>
                </c:pt>
                <c:pt idx="44">
                  <c:v>3.9739384181927955</c:v>
                </c:pt>
                <c:pt idx="45">
                  <c:v>4.931358815289173</c:v>
                </c:pt>
                <c:pt idx="46">
                  <c:v>5.360229407693068</c:v>
                </c:pt>
                <c:pt idx="47">
                  <c:v>5.7155102040816335</c:v>
                </c:pt>
                <c:pt idx="48">
                  <c:v>5.889160554197229</c:v>
                </c:pt>
                <c:pt idx="49">
                  <c:v>5.625910194174757</c:v>
                </c:pt>
                <c:pt idx="50">
                  <c:v>4.776451013017519</c:v>
                </c:pt>
                <c:pt idx="51">
                  <c:v>4.7465527065527064</c:v>
                </c:pt>
                <c:pt idx="52">
                  <c:v>2.943691872219976</c:v>
                </c:pt>
                <c:pt idx="53">
                  <c:v>2.1390374331550803</c:v>
                </c:pt>
                <c:pt idx="54">
                  <c:v>1.9060832443970117</c:v>
                </c:pt>
                <c:pt idx="55">
                  <c:v>2.247174447174447</c:v>
                </c:pt>
                <c:pt idx="56">
                  <c:v>2.846094204303159</c:v>
                </c:pt>
                <c:pt idx="57">
                  <c:v>3.050742115027829</c:v>
                </c:pt>
                <c:pt idx="58">
                  <c:v>3.381498542822224</c:v>
                </c:pt>
                <c:pt idx="59">
                  <c:v>3.3352612299980717</c:v>
                </c:pt>
                <c:pt idx="60">
                  <c:v>3.523233736384531</c:v>
                </c:pt>
                <c:pt idx="61">
                  <c:v>3.3750360611597268</c:v>
                </c:pt>
                <c:pt idx="62">
                  <c:v>3.4155075187969923</c:v>
                </c:pt>
                <c:pt idx="63">
                  <c:v>3.750405340963281</c:v>
                </c:pt>
                <c:pt idx="64">
                  <c:v>3.9455743340017193</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4.161767587693514</c:v>
                </c:pt>
                <c:pt idx="1">
                  <c:v>4.124638797919475</c:v>
                </c:pt>
                <c:pt idx="2">
                  <c:v>4.075764618388026</c:v>
                </c:pt>
                <c:pt idx="3">
                  <c:v>4.068693798090293</c:v>
                </c:pt>
                <c:pt idx="4">
                  <c:v>4.091453560224355</c:v>
                </c:pt>
                <c:pt idx="5">
                  <c:v>4.097268487674883</c:v>
                </c:pt>
                <c:pt idx="6">
                  <c:v>4.11268132896584</c:v>
                </c:pt>
                <c:pt idx="7">
                  <c:v>3.9373409968906063</c:v>
                </c:pt>
                <c:pt idx="8">
                  <c:v>3.9395929087327644</c:v>
                </c:pt>
                <c:pt idx="9">
                  <c:v>3.9425841846386684</c:v>
                </c:pt>
                <c:pt idx="10">
                  <c:v>3.9194240488223513</c:v>
                </c:pt>
                <c:pt idx="11">
                  <c:v>3.8830480089318944</c:v>
                </c:pt>
                <c:pt idx="12">
                  <c:v>3.8225865543139763</c:v>
                </c:pt>
                <c:pt idx="13">
                  <c:v>3.912718894009217</c:v>
                </c:pt>
                <c:pt idx="14">
                  <c:v>3.746671666979186</c:v>
                </c:pt>
                <c:pt idx="15">
                  <c:v>3.926103286384977</c:v>
                </c:pt>
                <c:pt idx="16">
                  <c:v>3.8687452615617897</c:v>
                </c:pt>
                <c:pt idx="17">
                  <c:v>3.846479822787248</c:v>
                </c:pt>
                <c:pt idx="18">
                  <c:v>3.8209674311042585</c:v>
                </c:pt>
                <c:pt idx="19">
                  <c:v>3.7610068822475724</c:v>
                </c:pt>
                <c:pt idx="20">
                  <c:v>3.795837649496186</c:v>
                </c:pt>
                <c:pt idx="21">
                  <c:v>3.9305045428184804</c:v>
                </c:pt>
                <c:pt idx="22">
                  <c:v>3.9811982464685833</c:v>
                </c:pt>
                <c:pt idx="23">
                  <c:v>3.761446485855935</c:v>
                </c:pt>
                <c:pt idx="24">
                  <c:v>3.886357081049899</c:v>
                </c:pt>
                <c:pt idx="25">
                  <c:v>3.7911585365853657</c:v>
                </c:pt>
                <c:pt idx="26">
                  <c:v>3.900234971607597</c:v>
                </c:pt>
                <c:pt idx="27">
                  <c:v>3.7238465274405046</c:v>
                </c:pt>
                <c:pt idx="28">
                  <c:v>3.671633451294468</c:v>
                </c:pt>
                <c:pt idx="29">
                  <c:v>3.738717111580564</c:v>
                </c:pt>
                <c:pt idx="30">
                  <c:v>3.837813708957445</c:v>
                </c:pt>
                <c:pt idx="31">
                  <c:v>3.7271652379544786</c:v>
                </c:pt>
                <c:pt idx="32">
                  <c:v>3.599202489787979</c:v>
                </c:pt>
                <c:pt idx="33">
                  <c:v>2.353896103896104</c:v>
                </c:pt>
                <c:pt idx="34">
                  <c:v>3.1118853665717934</c:v>
                </c:pt>
                <c:pt idx="35">
                  <c:v>3.6580131895739556</c:v>
                </c:pt>
                <c:pt idx="36">
                  <c:v>3.3289760348583877</c:v>
                </c:pt>
                <c:pt idx="37">
                  <c:v>3.022075910147173</c:v>
                </c:pt>
                <c:pt idx="38">
                  <c:v>3.8511749347258486</c:v>
                </c:pt>
                <c:pt idx="39">
                  <c:v>3.95049014753936</c:v>
                </c:pt>
                <c:pt idx="40">
                  <c:v>3.216029523088569</c:v>
                </c:pt>
                <c:pt idx="41">
                  <c:v>3.3519908771262945</c:v>
                </c:pt>
                <c:pt idx="42">
                  <c:v>3.656438253012048</c:v>
                </c:pt>
                <c:pt idx="43">
                  <c:v>3.775150185944503</c:v>
                </c:pt>
                <c:pt idx="44">
                  <c:v>3.6078049684835003</c:v>
                </c:pt>
                <c:pt idx="45">
                  <c:v>3.2840150059474795</c:v>
                </c:pt>
                <c:pt idx="46">
                  <c:v>3.225394785163423</c:v>
                </c:pt>
                <c:pt idx="47">
                  <c:v>3.338254531863203</c:v>
                </c:pt>
                <c:pt idx="48">
                  <c:v>3.4304126101066297</c:v>
                </c:pt>
                <c:pt idx="49">
                  <c:v>3.354574132492114</c:v>
                </c:pt>
                <c:pt idx="50">
                  <c:v>3.522158522158522</c:v>
                </c:pt>
                <c:pt idx="51">
                  <c:v>3.5461714809720313</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8.977115292266873</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8.977115292266873</c:v>
                </c:pt>
                <c:pt idx="1">
                  <c:v>-8.977115292266873</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3.374585290604241</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3.374585290604241</c:v>
                </c:pt>
                <c:pt idx="1">
                  <c:v>3.374585290604241</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3.374585290604241</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3.374585290604241</c:v>
                </c:pt>
                <c:pt idx="1">
                  <c:v>3.374585290604241</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4.161767587693514</c:v>
                </c:pt>
                <c:pt idx="1">
                  <c:v>4.124638797919475</c:v>
                </c:pt>
                <c:pt idx="2">
                  <c:v>4.075764618388026</c:v>
                </c:pt>
                <c:pt idx="3">
                  <c:v>4.068693798090293</c:v>
                </c:pt>
                <c:pt idx="4">
                  <c:v>4.091453560224355</c:v>
                </c:pt>
                <c:pt idx="5">
                  <c:v>4.097268487674883</c:v>
                </c:pt>
                <c:pt idx="6">
                  <c:v>4.11268132896584</c:v>
                </c:pt>
                <c:pt idx="7">
                  <c:v>3.9373409968906063</c:v>
                </c:pt>
                <c:pt idx="8">
                  <c:v>3.9395929087327644</c:v>
                </c:pt>
                <c:pt idx="9">
                  <c:v>3.9425841846386684</c:v>
                </c:pt>
                <c:pt idx="10">
                  <c:v>3.9194240488223513</c:v>
                </c:pt>
                <c:pt idx="11">
                  <c:v>3.8830480089318944</c:v>
                </c:pt>
                <c:pt idx="12">
                  <c:v>3.8225865543139763</c:v>
                </c:pt>
                <c:pt idx="13">
                  <c:v>3.912718894009217</c:v>
                </c:pt>
                <c:pt idx="14">
                  <c:v>3.746671666979186</c:v>
                </c:pt>
                <c:pt idx="15">
                  <c:v>3.926103286384977</c:v>
                </c:pt>
                <c:pt idx="16">
                  <c:v>3.8687452615617897</c:v>
                </c:pt>
                <c:pt idx="17">
                  <c:v>3.846479822787248</c:v>
                </c:pt>
                <c:pt idx="18">
                  <c:v>3.8209674311042585</c:v>
                </c:pt>
                <c:pt idx="19">
                  <c:v>3.7610068822475724</c:v>
                </c:pt>
                <c:pt idx="20">
                  <c:v>3.795837649496186</c:v>
                </c:pt>
                <c:pt idx="21">
                  <c:v>3.9305045428184804</c:v>
                </c:pt>
                <c:pt idx="22">
                  <c:v>3.9811982464685833</c:v>
                </c:pt>
                <c:pt idx="23">
                  <c:v>3.761446485855935</c:v>
                </c:pt>
                <c:pt idx="24">
                  <c:v>3.886357081049899</c:v>
                </c:pt>
                <c:pt idx="25">
                  <c:v>3.7911585365853657</c:v>
                </c:pt>
                <c:pt idx="26">
                  <c:v>3.900234971607597</c:v>
                </c:pt>
                <c:pt idx="27">
                  <c:v>3.7238465274405046</c:v>
                </c:pt>
                <c:pt idx="28">
                  <c:v>3.671633451294468</c:v>
                </c:pt>
                <c:pt idx="29">
                  <c:v>3.738717111580564</c:v>
                </c:pt>
                <c:pt idx="30">
                  <c:v>3.837813708957445</c:v>
                </c:pt>
                <c:pt idx="31">
                  <c:v>3.7271652379544786</c:v>
                </c:pt>
                <c:pt idx="32">
                  <c:v>3.599202489787979</c:v>
                </c:pt>
                <c:pt idx="33">
                  <c:v>2.353896103896104</c:v>
                </c:pt>
                <c:pt idx="34">
                  <c:v>3.1118853665717934</c:v>
                </c:pt>
                <c:pt idx="35">
                  <c:v>3.6580131895739556</c:v>
                </c:pt>
                <c:pt idx="36">
                  <c:v>3.3289760348583877</c:v>
                </c:pt>
                <c:pt idx="37">
                  <c:v>3.022075910147173</c:v>
                </c:pt>
                <c:pt idx="38">
                  <c:v>3.8511749347258486</c:v>
                </c:pt>
                <c:pt idx="39">
                  <c:v>3.95049014753936</c:v>
                </c:pt>
                <c:pt idx="40">
                  <c:v>3.216029523088569</c:v>
                </c:pt>
                <c:pt idx="41">
                  <c:v>3.3519908771262945</c:v>
                </c:pt>
                <c:pt idx="42">
                  <c:v>3.656438253012048</c:v>
                </c:pt>
                <c:pt idx="43">
                  <c:v>3.775150185944503</c:v>
                </c:pt>
                <c:pt idx="44">
                  <c:v>3.6078049684835003</c:v>
                </c:pt>
                <c:pt idx="45">
                  <c:v>3.2840150059474795</c:v>
                </c:pt>
                <c:pt idx="46">
                  <c:v>3.225394785163423</c:v>
                </c:pt>
                <c:pt idx="47">
                  <c:v>3.338254531863203</c:v>
                </c:pt>
                <c:pt idx="48">
                  <c:v>3.4304126101066297</c:v>
                </c:pt>
                <c:pt idx="49">
                  <c:v>3.354574132492114</c:v>
                </c:pt>
                <c:pt idx="50">
                  <c:v>3.522158522158522</c:v>
                </c:pt>
                <c:pt idx="51">
                  <c:v>3.5461714809720313</c:v>
                </c:pt>
                <c:pt idx="52">
                  <c:v>3.374585290604241</c:v>
                </c:pt>
                <c:pt idx="53">
                  <c:v>-8.977115292266873</c:v>
                </c:pt>
                <c:pt idx="54">
                  <c:v>3.374585290604241</c:v>
                </c:pt>
              </c:numCache>
            </c:numRef>
          </c:xVal>
          <c:yVal>
            <c:numRef>
              <c:f>Sheet1!$B$147:$B$201</c:f>
              <c:numCache>
                <c:formatCode>General</c:formatCode>
                <c:ptCount val="55"/>
                <c:pt idx="0">
                  <c:v>0.0003884968494740216</c:v>
                </c:pt>
                <c:pt idx="1">
                  <c:v>0.0004041271951512259</c:v>
                </c:pt>
                <c:pt idx="2">
                  <c:v>0.0004247020731748684</c:v>
                </c:pt>
                <c:pt idx="3">
                  <c:v>0.00042767872191961775</c:v>
                </c:pt>
                <c:pt idx="4">
                  <c:v>0.0004180973983200242</c:v>
                </c:pt>
                <c:pt idx="5">
                  <c:v>0.00041564945087296866</c:v>
                </c:pt>
                <c:pt idx="6">
                  <c:v>0.0004091610078423265</c:v>
                </c:pt>
                <c:pt idx="7">
                  <c:v>0.00048297515632847064</c:v>
                </c:pt>
                <c:pt idx="8">
                  <c:v>0.00048202715450180924</c:v>
                </c:pt>
                <c:pt idx="9">
                  <c:v>0.0004807678978249899</c:v>
                </c:pt>
                <c:pt idx="10">
                  <c:v>0.0004905177693113254</c:v>
                </c:pt>
                <c:pt idx="11">
                  <c:v>0.0005058312250236141</c:v>
                </c:pt>
                <c:pt idx="12">
                  <c:v>0.0005312840728426793</c:v>
                </c:pt>
                <c:pt idx="13">
                  <c:v>0.0004933404815027618</c:v>
                </c:pt>
                <c:pt idx="14">
                  <c:v>0.0005632424517262938</c:v>
                </c:pt>
                <c:pt idx="15">
                  <c:v>0.00048770596767169837</c:v>
                </c:pt>
                <c:pt idx="16">
                  <c:v>0.0005118523446692854</c:v>
                </c:pt>
                <c:pt idx="17">
                  <c:v>0.0005212255697816229</c:v>
                </c:pt>
                <c:pt idx="18">
                  <c:v>0.0005319656855646638</c:v>
                </c:pt>
                <c:pt idx="19">
                  <c:v>0.000557207663860445</c:v>
                </c:pt>
                <c:pt idx="20">
                  <c:v>0.0005425447315211111</c:v>
                </c:pt>
                <c:pt idx="21">
                  <c:v>0.00048585314241430784</c:v>
                </c:pt>
                <c:pt idx="22">
                  <c:v>0.00046451228760780654</c:v>
                </c:pt>
                <c:pt idx="23">
                  <c:v>0.0005570226010991359</c:v>
                </c:pt>
                <c:pt idx="24">
                  <c:v>0.0005044381836293219</c:v>
                </c:pt>
                <c:pt idx="25">
                  <c:v>0.000544514527808679</c:v>
                </c:pt>
                <c:pt idx="26">
                  <c:v>0.0004985959186913221</c:v>
                </c:pt>
                <c:pt idx="27">
                  <c:v>0.0005728512976728287</c:v>
                </c:pt>
                <c:pt idx="28">
                  <c:v>0.0005948317725011085</c:v>
                </c:pt>
                <c:pt idx="29">
                  <c:v>0.0005665911321262101</c:v>
                </c:pt>
                <c:pt idx="30">
                  <c:v>0.0005248737995155351</c:v>
                </c:pt>
                <c:pt idx="31">
                  <c:v>0.0005714541987409305</c:v>
                </c:pt>
                <c:pt idx="32">
                  <c:v>0.0006253235006982477</c:v>
                </c:pt>
                <c:pt idx="33">
                  <c:v>0.0011495681476145407</c:v>
                </c:pt>
                <c:pt idx="34">
                  <c:v>0.00083047252754899</c:v>
                </c:pt>
                <c:pt idx="35">
                  <c:v>0.0006005655817688284</c:v>
                </c:pt>
                <c:pt idx="36">
                  <c:v>0.0007390824712270518</c:v>
                </c:pt>
                <c:pt idx="37">
                  <c:v>0.0008682801926396574</c:v>
                </c:pt>
                <c:pt idx="38">
                  <c:v>0.0005192490382803238</c:v>
                </c:pt>
                <c:pt idx="39">
                  <c:v>0.00047743967372178026</c:v>
                </c:pt>
                <c:pt idx="40">
                  <c:v>0.0007866302914695286</c:v>
                </c:pt>
                <c:pt idx="41">
                  <c:v>0.0007293937649012331</c:v>
                </c:pt>
                <c:pt idx="42">
                  <c:v>0.0006012285929531977</c:v>
                </c:pt>
                <c:pt idx="43">
                  <c:v>0.0005512536662444149</c:v>
                </c:pt>
                <c:pt idx="44">
                  <c:v>0.0006217020598565158</c:v>
                </c:pt>
                <c:pt idx="45">
                  <c:v>0.0007580100050399545</c:v>
                </c:pt>
                <c:pt idx="46">
                  <c:v>0.0007826877367975763</c:v>
                </c:pt>
                <c:pt idx="47">
                  <c:v>0.0007351764426052523</c:v>
                </c:pt>
                <c:pt idx="48">
                  <c:v>0.0006963800630664066</c:v>
                </c:pt>
                <c:pt idx="49">
                  <c:v>0.0007283062752581292</c:v>
                </c:pt>
                <c:pt idx="50">
                  <c:v>0.0006577571957828582</c:v>
                </c:pt>
                <c:pt idx="51">
                  <c:v>0.0006476483059086704</c:v>
                </c:pt>
                <c:pt idx="52">
                  <c:v>0.0007198820491899679</c:v>
                </c:pt>
                <c:pt idx="53">
                  <c:v>0.0059196569674286525</c:v>
                </c:pt>
                <c:pt idx="54">
                  <c:v>0.000719882049189967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9.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Bic</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23</c:f>
              <c:numCache>
                <c:formatCode>General</c:formatCode>
                <c:ptCount val="22"/>
                <c:pt idx="0">
                  <c:v>1.0967</c:v>
                </c:pt>
                <c:pt idx="1">
                  <c:v>1.1066</c:v>
                </c:pt>
                <c:pt idx="2">
                  <c:v>1.1066</c:v>
                </c:pt>
                <c:pt idx="3">
                  <c:v>1.0894</c:v>
                </c:pt>
                <c:pt idx="4">
                  <c:v>1.115</c:v>
                </c:pt>
                <c:pt idx="5">
                  <c:v>1.1165</c:v>
                </c:pt>
                <c:pt idx="6">
                  <c:v>0.9373</c:v>
                </c:pt>
                <c:pt idx="7">
                  <c:v>0.9328</c:v>
                </c:pt>
                <c:pt idx="8">
                  <c:v>1.0816</c:v>
                </c:pt>
                <c:pt idx="9">
                  <c:v>0.8886</c:v>
                </c:pt>
                <c:pt idx="10">
                  <c:v>0.8866</c:v>
                </c:pt>
                <c:pt idx="11">
                  <c:v>0.8895</c:v>
                </c:pt>
                <c:pt idx="12">
                  <c:v>0.981</c:v>
                </c:pt>
                <c:pt idx="13">
                  <c:v>1.0908</c:v>
                </c:pt>
                <c:pt idx="14">
                  <c:v>1.121</c:v>
                </c:pt>
                <c:pt idx="15">
                  <c:v>1.1208</c:v>
                </c:pt>
                <c:pt idx="16">
                  <c:v>1.1167</c:v>
                </c:pt>
                <c:pt idx="17">
                  <c:v>1.0919</c:v>
                </c:pt>
                <c:pt idx="18">
                  <c:v>1.0795</c:v>
                </c:pt>
                <c:pt idx="19">
                  <c:v>1.0712</c:v>
                </c:pt>
                <c:pt idx="20">
                  <c:v>1.0718</c:v>
                </c:pt>
                <c:pt idx="21">
                  <c:v>1.0712</c:v>
                </c:pt>
              </c:numCache>
            </c:numRef>
          </c:xVal>
          <c:yVal>
            <c:numRef>
              <c:f>Sheet1!$B$2:$B$23</c:f>
              <c:numCache>
                <c:formatCode>General</c:formatCode>
                <c:ptCount val="22"/>
                <c:pt idx="0">
                  <c:v>0.2827536913744993</c:v>
                </c:pt>
                <c:pt idx="1">
                  <c:v>0.26497029242595</c:v>
                </c:pt>
                <c:pt idx="2">
                  <c:v>0.27114100347392966</c:v>
                </c:pt>
                <c:pt idx="3">
                  <c:v>0.3351889288410483</c:v>
                </c:pt>
                <c:pt idx="4">
                  <c:v>0.2967609840581022</c:v>
                </c:pt>
                <c:pt idx="5">
                  <c:v>0.3215831316621259</c:v>
                </c:pt>
                <c:pt idx="6">
                  <c:v>0.3494822084270166</c:v>
                </c:pt>
                <c:pt idx="7">
                  <c:v>0.3464543712221731</c:v>
                </c:pt>
                <c:pt idx="8">
                  <c:v>0.3457254448141183</c:v>
                </c:pt>
                <c:pt idx="9">
                  <c:v>0.37404928302190504</c:v>
                </c:pt>
                <c:pt idx="10">
                  <c:v>0.36823449573456124</c:v>
                </c:pt>
                <c:pt idx="11">
                  <c:v>0.360334832212271</c:v>
                </c:pt>
                <c:pt idx="12">
                  <c:v>0.36105806014519415</c:v>
                </c:pt>
                <c:pt idx="13">
                  <c:v>0.32292707519870684</c:v>
                </c:pt>
                <c:pt idx="14">
                  <c:v>0.2677196231388998</c:v>
                </c:pt>
                <c:pt idx="15">
                  <c:v>0.26042701959692993</c:v>
                </c:pt>
                <c:pt idx="16">
                  <c:v>0.2626236887016889</c:v>
                </c:pt>
                <c:pt idx="17">
                  <c:v>0.3166123385246891</c:v>
                </c:pt>
                <c:pt idx="18">
                  <c:v>0.3617716604994042</c:v>
                </c:pt>
                <c:pt idx="19">
                  <c:v>0.37243243385991875</c:v>
                </c:pt>
                <c:pt idx="20">
                  <c:v>0.3478958201046616</c:v>
                </c:pt>
                <c:pt idx="21">
                  <c:v>0.34503366015658044</c:v>
                </c:pt>
              </c:numCache>
            </c:numRef>
          </c:yVal>
          <c:smooth val="0"/>
          <c:extLst>
            <c:ext xmlns:c16="http://schemas.microsoft.com/office/drawing/2014/chart" uri="{C3380CC4-5D6E-409C-BE32-E72D297353CC}">
              <c16:uniqueId val="{00000000-F32D-48B7-BC20-E66FC6253BAD}"/>
            </c:ext>
          </c:extLst>
        </c:ser>
        <c:ser>
          <c:idx val="1"/>
          <c:order val="1"/>
          <c:tx>
            <c:strRef>
              <c:f>Sheet1!$B$2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26:$A$77</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26:$B$77</c:f>
              <c:numCache>
                <c:formatCode>General</c:formatCode>
                <c:ptCount val="52"/>
                <c:pt idx="0">
                  <c:v>0.3531912255562929</c:v>
                </c:pt>
                <c:pt idx="1">
                  <c:v>0.3886950774030845</c:v>
                </c:pt>
                <c:pt idx="2">
                  <c:v>0.3888215624092156</c:v>
                </c:pt>
                <c:pt idx="3">
                  <c:v>0.3575266832385781</c:v>
                </c:pt>
                <c:pt idx="4">
                  <c:v>0.2946780184740804</c:v>
                </c:pt>
                <c:pt idx="5">
                  <c:v>0.24602971476119856</c:v>
                </c:pt>
                <c:pt idx="6">
                  <c:v>0.24387256239622865</c:v>
                </c:pt>
                <c:pt idx="7">
                  <c:v>0.24505113466791514</c:v>
                </c:pt>
                <c:pt idx="8">
                  <c:v>0.2750687686851953</c:v>
                </c:pt>
                <c:pt idx="9">
                  <c:v>0.333913983592908</c:v>
                </c:pt>
                <c:pt idx="10">
                  <c:v>0.34477697604793994</c:v>
                </c:pt>
                <c:pt idx="11">
                  <c:v>0.3587176676785381</c:v>
                </c:pt>
                <c:pt idx="12">
                  <c:v>0.3607840140226142</c:v>
                </c:pt>
                <c:pt idx="13">
                  <c:v>0.32851489411024454</c:v>
                </c:pt>
                <c:pt idx="14">
                  <c:v>0.2541178501538167</c:v>
                </c:pt>
                <c:pt idx="15">
                  <c:v>0.2512288593367061</c:v>
                </c:pt>
                <c:pt idx="16">
                  <c:v>0.21178012498309712</c:v>
                </c:pt>
                <c:pt idx="17">
                  <c:v>0.19359598954345317</c:v>
                </c:pt>
                <c:pt idx="18">
                  <c:v>0.23734638774634736</c:v>
                </c:pt>
                <c:pt idx="19">
                  <c:v>0.23235523764985094</c:v>
                </c:pt>
                <c:pt idx="20">
                  <c:v>0.2706380147240729</c:v>
                </c:pt>
                <c:pt idx="21">
                  <c:v>0.26040358593828694</c:v>
                </c:pt>
                <c:pt idx="22">
                  <c:v>0.22923049736297815</c:v>
                </c:pt>
                <c:pt idx="23">
                  <c:v>0.2306270389191791</c:v>
                </c:pt>
                <c:pt idx="24">
                  <c:v>0.22688698051475475</c:v>
                </c:pt>
                <c:pt idx="25">
                  <c:v>0.2567662881878656</c:v>
                </c:pt>
                <c:pt idx="26">
                  <c:v>0.2527302832208337</c:v>
                </c:pt>
                <c:pt idx="27">
                  <c:v>0.25521659874881186</c:v>
                </c:pt>
                <c:pt idx="28">
                  <c:v>0.2776445278833755</c:v>
                </c:pt>
                <c:pt idx="29">
                  <c:v>0.3233285719981248</c:v>
                </c:pt>
                <c:pt idx="30">
                  <c:v>0.3290676311596939</c:v>
                </c:pt>
                <c:pt idx="31">
                  <c:v>0.30744140210229226</c:v>
                </c:pt>
                <c:pt idx="32">
                  <c:v>0.2998946782238148</c:v>
                </c:pt>
                <c:pt idx="33">
                  <c:v>0.3001633775057701</c:v>
                </c:pt>
                <c:pt idx="34">
                  <c:v>0.31175079574186054</c:v>
                </c:pt>
                <c:pt idx="35">
                  <c:v>0.30779088751048916</c:v>
                </c:pt>
                <c:pt idx="36">
                  <c:v>0.3050418511330854</c:v>
                </c:pt>
                <c:pt idx="37">
                  <c:v>0.33193951312495384</c:v>
                </c:pt>
                <c:pt idx="38">
                  <c:v>0.34714966126786084</c:v>
                </c:pt>
                <c:pt idx="39">
                  <c:v>0.3602752694121563</c:v>
                </c:pt>
                <c:pt idx="40">
                  <c:v>0.414960846552156</c:v>
                </c:pt>
                <c:pt idx="41">
                  <c:v>0.41142251036250127</c:v>
                </c:pt>
                <c:pt idx="42">
                  <c:v>0.41747681884565196</c:v>
                </c:pt>
                <c:pt idx="43">
                  <c:v>0.325079772368691</c:v>
                </c:pt>
                <c:pt idx="44">
                  <c:v>0.23331014328194294</c:v>
                </c:pt>
                <c:pt idx="45">
                  <c:v>0.22068958745285183</c:v>
                </c:pt>
                <c:pt idx="46">
                  <c:v>0.2221329283020811</c:v>
                </c:pt>
                <c:pt idx="47">
                  <c:v>0.2725506166271589</c:v>
                </c:pt>
                <c:pt idx="48">
                  <c:v>0.31830606090696717</c:v>
                </c:pt>
                <c:pt idx="49">
                  <c:v>0.3577092100080844</c:v>
                </c:pt>
                <c:pt idx="50">
                  <c:v>0.3950076524567908</c:v>
                </c:pt>
                <c:pt idx="51">
                  <c:v>0.3822579071132269</c:v>
                </c:pt>
              </c:numCache>
            </c:numRef>
          </c:yVal>
          <c:smooth val="0"/>
          <c:extLst>
            <c:ext xmlns:c16="http://schemas.microsoft.com/office/drawing/2014/chart" uri="{C3380CC4-5D6E-409C-BE32-E72D297353CC}">
              <c16:uniqueId val="{00000002-F32D-48B7-BC20-E66FC6253BAD}"/>
            </c:ext>
          </c:extLst>
        </c:ser>
        <c:ser>
          <c:idx val="2"/>
          <c:order val="2"/>
          <c:tx>
            <c:strRef>
              <c:f>Sheet1!$B$79</c:f>
              <c:strCache>
                <c:ptCount val="1"/>
                <c:pt idx="0">
                  <c:v>Custom Linep3yQ</c:v>
                </c:pt>
              </c:strCache>
            </c:strRef>
          </c:tx>
          <c:spPr>
            <a:ln w="19050" cap="rnd">
              <a:solidFill>
                <a:srgbClr val="C00000"/>
              </a:solidFill>
              <a:prstDash val="sysDot"/>
              <a:round/>
            </a:ln>
            <a:effectLst/>
          </c:spPr>
          <c:marker>
            <c:symbol val="none"/>
          </c:marker>
          <c:xVal>
            <c:numRef>
              <c:f>Sheet1!$A$80:$A$81</c:f>
              <c:numCache>
                <c:formatCode>General</c:formatCode>
                <c:ptCount val="2"/>
                <c:pt idx="0">
                  <c:v>0</c:v>
                </c:pt>
                <c:pt idx="1">
                  <c:v>0.8411197294647357</c:v>
                </c:pt>
              </c:numCache>
            </c:numRef>
          </c:xVal>
          <c:yVal>
            <c:numRef>
              <c:f>Sheet1!$B$80:$B$81</c:f>
              <c:numCache>
                <c:formatCode>General</c:formatCode>
                <c:ptCount val="2"/>
                <c:pt idx="0">
                  <c:v>0.3408112890313585</c:v>
                </c:pt>
                <c:pt idx="1">
                  <c:v>0.3408112890313585</c:v>
                </c:pt>
              </c:numCache>
            </c:numRef>
          </c:yVal>
          <c:smooth val="0"/>
          <c:extLst>
            <c:ext xmlns:c16="http://schemas.microsoft.com/office/drawing/2014/chart" uri="{C3380CC4-5D6E-409C-BE32-E72D297353CC}">
              <c16:uniqueId val="{00000003-F32D-48B7-BC20-E66FC6253BAD}"/>
            </c:ext>
          </c:extLst>
        </c:ser>
        <c:ser>
          <c:idx val="3"/>
          <c:order val="3"/>
          <c:tx>
            <c:strRef>
              <c:f>Sheet1!$B$8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84:$A$85</c:f>
              <c:numCache>
                <c:formatCode>General</c:formatCode>
                <c:ptCount val="2"/>
                <c:pt idx="0">
                  <c:v>0.8411197294647357</c:v>
                </c:pt>
                <c:pt idx="1">
                  <c:v>0.8411197294647357</c:v>
                </c:pt>
              </c:numCache>
            </c:numRef>
          </c:xVal>
          <c:yVal>
            <c:numRef>
              <c:f>Sheet1!$B$84:$B$85</c:f>
              <c:numCache>
                <c:formatCode>General</c:formatCode>
                <c:ptCount val="2"/>
                <c:pt idx="0">
                  <c:v>0.340811289031358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8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88:$A$89</c:f>
              <c:numCache>
                <c:formatCode>General</c:formatCode>
                <c:ptCount val="2"/>
                <c:pt idx="0">
                  <c:v>0</c:v>
                </c:pt>
                <c:pt idx="1">
                  <c:v>0.8573344294665443</c:v>
                </c:pt>
              </c:numCache>
            </c:numRef>
          </c:xVal>
          <c:yVal>
            <c:numRef>
              <c:f>Sheet1!$B$88:$B$89</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0A-F32D-48B7-BC20-E66FC6253BAD}"/>
            </c:ext>
          </c:extLst>
        </c:ser>
        <c:ser>
          <c:idx val="5"/>
          <c:order val="5"/>
          <c:tx>
            <c:strRef>
              <c:f>Sheet1!$B$9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92:$A$93</c:f>
              <c:numCache>
                <c:formatCode>General</c:formatCode>
                <c:ptCount val="2"/>
                <c:pt idx="0">
                  <c:v>0.8573344294665443</c:v>
                </c:pt>
                <c:pt idx="1">
                  <c:v>0.8573344294665443</c:v>
                </c:pt>
              </c:numCache>
            </c:numRef>
          </c:xVal>
          <c:yVal>
            <c:numRef>
              <c:f>Sheet1!$B$92:$B$93</c:f>
              <c:numCache>
                <c:formatCode>General</c:formatCode>
                <c:ptCount val="2"/>
                <c:pt idx="0">
                  <c:v>0.3331676402838662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9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96:$A$97</c:f>
              <c:numCache>
                <c:formatCode>General</c:formatCode>
                <c:ptCount val="2"/>
                <c:pt idx="0">
                  <c:v>0</c:v>
                </c:pt>
                <c:pt idx="1">
                  <c:v>0.8573344294665443</c:v>
                </c:pt>
              </c:numCache>
            </c:numRef>
          </c:xVal>
          <c:yVal>
            <c:numRef>
              <c:f>Sheet1!$B$96:$B$97</c:f>
              <c:numCache>
                <c:formatCode>General</c:formatCode>
                <c:ptCount val="2"/>
                <c:pt idx="0">
                  <c:v>0.33316764028386625</c:v>
                </c:pt>
                <c:pt idx="1">
                  <c:v>0.33316764028386625</c:v>
                </c:pt>
              </c:numCache>
            </c:numRef>
          </c:yVal>
          <c:smooth val="0"/>
          <c:extLst>
            <c:ext xmlns:c16="http://schemas.microsoft.com/office/drawing/2014/chart" uri="{C3380CC4-5D6E-409C-BE32-E72D297353CC}">
              <c16:uniqueId val="{00000011-F32D-48B7-BC20-E66FC6253BAD}"/>
            </c:ext>
          </c:extLst>
        </c:ser>
        <c:ser>
          <c:idx val="7"/>
          <c:order val="7"/>
          <c:tx>
            <c:strRef>
              <c:f>Sheet1!$B$9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00:$A$101</c:f>
              <c:numCache>
                <c:formatCode>General</c:formatCode>
                <c:ptCount val="2"/>
                <c:pt idx="0">
                  <c:v>0.8573344294665443</c:v>
                </c:pt>
                <c:pt idx="1">
                  <c:v>0.8573344294665443</c:v>
                </c:pt>
              </c:numCache>
            </c:numRef>
          </c:xVal>
          <c:yVal>
            <c:numRef>
              <c:f>Sheet1!$B$100:$B$101</c:f>
              <c:numCache>
                <c:formatCode>General</c:formatCode>
                <c:ptCount val="2"/>
                <c:pt idx="0">
                  <c:v>0.3331676402838662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0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04:$A$158</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73344294665443</c:v>
                </c:pt>
                <c:pt idx="53">
                  <c:v>0.8411197294647357</c:v>
                </c:pt>
                <c:pt idx="54">
                  <c:v>0.8573344294665443</c:v>
                </c:pt>
              </c:numCache>
            </c:numRef>
          </c:xVal>
          <c:yVal>
            <c:numRef>
              <c:f>Sheet1!$B$104:$B$158</c:f>
              <c:numCache>
                <c:formatCode>General</c:formatCode>
                <c:ptCount val="55"/>
                <c:pt idx="0">
                  <c:v>0.2603050569809562</c:v>
                </c:pt>
                <c:pt idx="1">
                  <c:v>0.2922190005104391</c:v>
                </c:pt>
                <c:pt idx="2">
                  <c:v>0.29047481157308186</c:v>
                </c:pt>
                <c:pt idx="3">
                  <c:v>0.2669046907979837</c:v>
                </c:pt>
                <c:pt idx="4">
                  <c:v>0.2572409412801935</c:v>
                </c:pt>
                <c:pt idx="5">
                  <c:v>0.2587494290097997</c:v>
                </c:pt>
                <c:pt idx="6">
                  <c:v>0.2695445443247947</c:v>
                </c:pt>
                <c:pt idx="7">
                  <c:v>0.27746410490522766</c:v>
                </c:pt>
                <c:pt idx="8">
                  <c:v>0.30819954239595565</c:v>
                </c:pt>
                <c:pt idx="9">
                  <c:v>0.34718452215796797</c:v>
                </c:pt>
                <c:pt idx="10">
                  <c:v>0.34756164409036955</c:v>
                </c:pt>
                <c:pt idx="11">
                  <c:v>0.34892871109532525</c:v>
                </c:pt>
                <c:pt idx="12">
                  <c:v>0.34859872940447384</c:v>
                </c:pt>
                <c:pt idx="13">
                  <c:v>0.3205502856821071</c:v>
                </c:pt>
                <c:pt idx="14">
                  <c:v>0.267706074904337</c:v>
                </c:pt>
                <c:pt idx="15">
                  <c:v>0.25889084973445037</c:v>
                </c:pt>
                <c:pt idx="16">
                  <c:v>0.2580423253865468</c:v>
                </c:pt>
                <c:pt idx="17">
                  <c:v>0.27581419645097077</c:v>
                </c:pt>
                <c:pt idx="18">
                  <c:v>0.3110279568889674</c:v>
                </c:pt>
                <c:pt idx="19">
                  <c:v>0.3009399451972254</c:v>
                </c:pt>
                <c:pt idx="20">
                  <c:v>0.2842994399300061</c:v>
                </c:pt>
                <c:pt idx="21">
                  <c:v>0.2610121606042092</c:v>
                </c:pt>
                <c:pt idx="22">
                  <c:v>0.2603993374640566</c:v>
                </c:pt>
                <c:pt idx="23">
                  <c:v>0.25945653263305263</c:v>
                </c:pt>
                <c:pt idx="24">
                  <c:v>0.25973937408235387</c:v>
                </c:pt>
                <c:pt idx="25">
                  <c:v>0.2597865143239041</c:v>
                </c:pt>
                <c:pt idx="26">
                  <c:v>0.2603993374640566</c:v>
                </c:pt>
                <c:pt idx="27">
                  <c:v>0.2612950020535103</c:v>
                </c:pt>
                <c:pt idx="28">
                  <c:v>0.28142388519544415</c:v>
                </c:pt>
                <c:pt idx="29">
                  <c:v>0.2932089455829932</c:v>
                </c:pt>
                <c:pt idx="30">
                  <c:v>0.3287998279533914</c:v>
                </c:pt>
                <c:pt idx="31">
                  <c:v>0.3477030648150201</c:v>
                </c:pt>
                <c:pt idx="32">
                  <c:v>0.3421876565536472</c:v>
                </c:pt>
                <c:pt idx="33">
                  <c:v>0.34346044307550244</c:v>
                </c:pt>
                <c:pt idx="34">
                  <c:v>0.3448746503220083</c:v>
                </c:pt>
                <c:pt idx="35">
                  <c:v>0.29924289650141833</c:v>
                </c:pt>
                <c:pt idx="36">
                  <c:v>0.2693088431170437</c:v>
                </c:pt>
                <c:pt idx="37">
                  <c:v>0.28151816567854454</c:v>
                </c:pt>
                <c:pt idx="38">
                  <c:v>0.2900976896406803</c:v>
                </c:pt>
                <c:pt idx="39">
                  <c:v>0.32446292573077334</c:v>
                </c:pt>
                <c:pt idx="40">
                  <c:v>0.40884395810562474</c:v>
                </c:pt>
                <c:pt idx="41">
                  <c:v>0.40775973254997017</c:v>
                </c:pt>
                <c:pt idx="42">
                  <c:v>0.40841969593167293</c:v>
                </c:pt>
                <c:pt idx="43">
                  <c:v>0.34600601611921306</c:v>
                </c:pt>
                <c:pt idx="44">
                  <c:v>0.26011649601475545</c:v>
                </c:pt>
                <c:pt idx="45">
                  <c:v>0.26063503867180754</c:v>
                </c:pt>
                <c:pt idx="46">
                  <c:v>0.26421769702962244</c:v>
                </c:pt>
                <c:pt idx="47">
                  <c:v>0.2727029405086578</c:v>
                </c:pt>
                <c:pt idx="48">
                  <c:v>0.2741171477551637</c:v>
                </c:pt>
                <c:pt idx="49">
                  <c:v>0.3148934566960835</c:v>
                </c:pt>
                <c:pt idx="50">
                  <c:v>0.36005380810117155</c:v>
                </c:pt>
                <c:pt idx="51">
                  <c:v>0.3581681984391637</c:v>
                </c:pt>
                <c:pt idx="52">
                  <c:v>0.33316764028386625</c:v>
                </c:pt>
                <c:pt idx="53">
                  <c:v>0.3408112890313585</c:v>
                </c:pt>
                <c:pt idx="54">
                  <c:v>0.3331676402838662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5009721826147824"/>
          <c:min val="0.1548767916347625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696407624633431</c:v>
                </c:pt>
                <c:pt idx="1">
                  <c:v>0.7222555039688483</c:v>
                </c:pt>
                <c:pt idx="2">
                  <c:v>0.8142700143714598</c:v>
                </c:pt>
                <c:pt idx="3">
                  <c:v>0.7953814432989692</c:v>
                </c:pt>
                <c:pt idx="4">
                  <c:v>0.7170272673384707</c:v>
                </c:pt>
                <c:pt idx="5">
                  <c:v>0.7182606162138538</c:v>
                </c:pt>
                <c:pt idx="6">
                  <c:v>0.7007493875198156</c:v>
                </c:pt>
                <c:pt idx="7">
                  <c:v>0.7018374964111398</c:v>
                </c:pt>
                <c:pt idx="8">
                  <c:v>0.7082552946261345</c:v>
                </c:pt>
                <c:pt idx="9">
                  <c:v>0.7607137291569268</c:v>
                </c:pt>
                <c:pt idx="10">
                  <c:v>0.8836477987421384</c:v>
                </c:pt>
                <c:pt idx="11">
                  <c:v>0.9072649959287071</c:v>
                </c:pt>
                <c:pt idx="12">
                  <c:v>0.8823529411764706</c:v>
                </c:pt>
                <c:pt idx="13">
                  <c:v>0.8924769980155149</c:v>
                </c:pt>
                <c:pt idx="14">
                  <c:v>0.8920064958498737</c:v>
                </c:pt>
                <c:pt idx="15">
                  <c:v>0.9202597871188887</c:v>
                </c:pt>
                <c:pt idx="16">
                  <c:v>0.8820661007765939</c:v>
                </c:pt>
                <c:pt idx="17">
                  <c:v>0.8777807558295364</c:v>
                </c:pt>
                <c:pt idx="18">
                  <c:v>0.863444639718805</c:v>
                </c:pt>
                <c:pt idx="19">
                  <c:v>0.8683863016110575</c:v>
                </c:pt>
                <c:pt idx="20">
                  <c:v>0.8820929821460138</c:v>
                </c:pt>
                <c:pt idx="21">
                  <c:v>0.8903950771426024</c:v>
                </c:pt>
                <c:pt idx="22">
                  <c:v>0.8989156734474417</c:v>
                </c:pt>
                <c:pt idx="23">
                  <c:v>0.8921770227983906</c:v>
                </c:pt>
                <c:pt idx="24">
                  <c:v>0.8924615934262237</c:v>
                </c:pt>
                <c:pt idx="25">
                  <c:v>0.8902723038337513</c:v>
                </c:pt>
                <c:pt idx="26">
                  <c:v>0.891411648568608</c:v>
                </c:pt>
                <c:pt idx="27">
                  <c:v>0.8995782105357623</c:v>
                </c:pt>
                <c:pt idx="28">
                  <c:v>0.9157913636771704</c:v>
                </c:pt>
                <c:pt idx="29">
                  <c:v>0.9019590222861251</c:v>
                </c:pt>
                <c:pt idx="30">
                  <c:v>0.8974243919949744</c:v>
                </c:pt>
                <c:pt idx="31">
                  <c:v>0.8712318905786016</c:v>
                </c:pt>
                <c:pt idx="32">
                  <c:v>0.8285380327279266</c:v>
                </c:pt>
                <c:pt idx="33">
                  <c:v>0.8191212148441009</c:v>
                </c:pt>
                <c:pt idx="34">
                  <c:v>0.8230493273542601</c:v>
                </c:pt>
                <c:pt idx="35">
                  <c:v>0.8229428674092706</c:v>
                </c:pt>
                <c:pt idx="36">
                  <c:v>0.8170545421870788</c:v>
                </c:pt>
                <c:pt idx="37">
                  <c:v>0.8180594201597702</c:v>
                </c:pt>
                <c:pt idx="38">
                  <c:v>0.8111568767908309</c:v>
                </c:pt>
                <c:pt idx="39">
                  <c:v>0.8158554044380817</c:v>
                </c:pt>
                <c:pt idx="40">
                  <c:v>0.8349601504432703</c:v>
                </c:pt>
                <c:pt idx="41">
                  <c:v>0.8407888839085612</c:v>
                </c:pt>
                <c:pt idx="42">
                  <c:v>0.8438451890342231</c:v>
                </c:pt>
                <c:pt idx="43">
                  <c:v>0.8464648279579553</c:v>
                </c:pt>
                <c:pt idx="44">
                  <c:v>0.8847814355099839</c:v>
                </c:pt>
                <c:pt idx="45">
                  <c:v>0.9399369653309321</c:v>
                </c:pt>
                <c:pt idx="46">
                  <c:v>0.9768656044648483</c:v>
                </c:pt>
                <c:pt idx="47">
                  <c:v>0.9696531791907516</c:v>
                </c:pt>
                <c:pt idx="48">
                  <c:v>1.0054073540014419</c:v>
                </c:pt>
                <c:pt idx="49">
                  <c:v>1.0799294739935352</c:v>
                </c:pt>
                <c:pt idx="50">
                  <c:v>1.216797683078196</c:v>
                </c:pt>
                <c:pt idx="51">
                  <c:v>1.0342126957955482</c:v>
                </c:pt>
                <c:pt idx="52">
                  <c:v>1.0147273866722373</c:v>
                </c:pt>
                <c:pt idx="53">
                  <c:v>1.9744979919678713</c:v>
                </c:pt>
                <c:pt idx="54">
                  <c:v>2.4437643458301457</c:v>
                </c:pt>
                <c:pt idx="55">
                  <c:v>2.3654834761321912</c:v>
                </c:pt>
                <c:pt idx="56">
                  <c:v>2.358108108108108</c:v>
                </c:pt>
                <c:pt idx="57">
                  <c:v>2.4490358126721765</c:v>
                </c:pt>
                <c:pt idx="58">
                  <c:v>2.42196388820183</c:v>
                </c:pt>
                <c:pt idx="59">
                  <c:v>2.472672822560519</c:v>
                </c:pt>
                <c:pt idx="60">
                  <c:v>2.0519290928050054</c:v>
                </c:pt>
                <c:pt idx="61">
                  <c:v>2.3894607843137257</c:v>
                </c:pt>
                <c:pt idx="62">
                  <c:v>2.8153049482163404</c:v>
                </c:pt>
                <c:pt idx="63">
                  <c:v>2.562629399585921</c:v>
                </c:pt>
                <c:pt idx="64">
                  <c:v>2.0994027303754264</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3</c:f>
              <c:numCache>
                <c:formatCode>General</c:formatCode>
                <c:ptCount val="45"/>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096C-4121-9522-6AB7243CCAAE}"/>
            </c:ext>
          </c:extLst>
        </c:ser>
        <c:ser>
          <c:idx val="2"/>
          <c:order val="2"/>
          <c:tx>
            <c:strRef>
              <c:f>Sheet1!$B$115</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16:$A$117</c:f>
              <c:numCache>
                <c:formatCode>General</c:formatCode>
                <c:ptCount val="2"/>
                <c:pt idx="0">
                  <c:v>0</c:v>
                </c:pt>
                <c:pt idx="1">
                  <c:v>17.991668206643553</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5-096C-4121-9522-6AB7243CCAAE}"/>
            </c:ext>
          </c:extLst>
        </c:ser>
        <c:ser>
          <c:idx val="3"/>
          <c:order val="3"/>
          <c:tx>
            <c:strRef>
              <c:f>Sheet1!$B$119</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0:$A$121</c:f>
              <c:numCache>
                <c:formatCode>General</c:formatCode>
                <c:ptCount val="2"/>
                <c:pt idx="0">
                  <c:v>17.991668206643553</c:v>
                </c:pt>
                <c:pt idx="1">
                  <c:v>17.991668206643553</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3</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24:$A$125</c:f>
              <c:numCache>
                <c:formatCode>General</c:formatCode>
                <c:ptCount val="2"/>
                <c:pt idx="0">
                  <c:v>0</c:v>
                </c:pt>
                <c:pt idx="1">
                  <c:v>7.748127518440169</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D-096C-4121-9522-6AB7243CCAAE}"/>
            </c:ext>
          </c:extLst>
        </c:ser>
        <c:ser>
          <c:idx val="5"/>
          <c:order val="5"/>
          <c:tx>
            <c:strRef>
              <c:f>Sheet1!$B$127</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8:$A$129</c:f>
              <c:numCache>
                <c:formatCode>General</c:formatCode>
                <c:ptCount val="2"/>
                <c:pt idx="0">
                  <c:v>7.748127518440169</c:v>
                </c:pt>
                <c:pt idx="1">
                  <c:v>7.748127518440169</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1</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2:$A$133</c:f>
              <c:numCache>
                <c:formatCode>General</c:formatCode>
                <c:ptCount val="2"/>
                <c:pt idx="0">
                  <c:v>0</c:v>
                </c:pt>
                <c:pt idx="1">
                  <c:v>1.4997355715889864</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5-096C-4121-9522-6AB7243CCAAE}"/>
            </c:ext>
          </c:extLst>
        </c:ser>
        <c:ser>
          <c:idx val="7"/>
          <c:order val="7"/>
          <c:tx>
            <c:strRef>
              <c:f>Sheet1!$B$135</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6:$A$137</c:f>
              <c:numCache>
                <c:formatCode>General</c:formatCode>
                <c:ptCount val="2"/>
                <c:pt idx="0">
                  <c:v>1.4997355715889864</c:v>
                </c:pt>
                <c:pt idx="1">
                  <c:v>1.4997355715889864</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39</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0:$A$187</c:f>
              <c:numCache>
                <c:formatCode>General</c:formatCode>
                <c:ptCount val="48"/>
                <c:pt idx="0">
                  <c:v>2.941494149414942</c:v>
                </c:pt>
                <c:pt idx="1">
                  <c:v>2.84868804664723</c:v>
                </c:pt>
                <c:pt idx="2">
                  <c:v>2.6313315926892953</c:v>
                </c:pt>
                <c:pt idx="3">
                  <c:v>2.2279594137542276</c:v>
                </c:pt>
                <c:pt idx="4">
                  <c:v>2.7815054976036087</c:v>
                </c:pt>
                <c:pt idx="5">
                  <c:v>2.2713789107763613</c:v>
                </c:pt>
                <c:pt idx="6">
                  <c:v>3.165751211631664</c:v>
                </c:pt>
                <c:pt idx="7">
                  <c:v>3.1045710707576704</c:v>
                </c:pt>
                <c:pt idx="8">
                  <c:v>1.4053704767375073</c:v>
                </c:pt>
                <c:pt idx="9">
                  <c:v>1.821915251073362</c:v>
                </c:pt>
                <c:pt idx="10">
                  <c:v>2.194888888888889</c:v>
                </c:pt>
                <c:pt idx="11">
                  <c:v>2.93999399939994</c:v>
                </c:pt>
                <c:pt idx="12">
                  <c:v>2.311510281257386</c:v>
                </c:pt>
                <c:pt idx="13">
                  <c:v>1.56704</c:v>
                </c:pt>
                <c:pt idx="14">
                  <c:v>2.136373554440323</c:v>
                </c:pt>
                <c:pt idx="15">
                  <c:v>3.9252</c:v>
                </c:pt>
                <c:pt idx="16">
                  <c:v>2.2429714285714284</c:v>
                </c:pt>
                <c:pt idx="17">
                  <c:v>1.3094666666666666</c:v>
                </c:pt>
                <c:pt idx="18">
                  <c:v>1.8011394964160998</c:v>
                </c:pt>
                <c:pt idx="19">
                  <c:v>1.390915542938254</c:v>
                </c:pt>
                <c:pt idx="20">
                  <c:v>3.9456</c:v>
                </c:pt>
                <c:pt idx="21">
                  <c:v>1.270868383590009</c:v>
                </c:pt>
                <c:pt idx="22">
                  <c:v>1.0350487081745023</c:v>
                </c:pt>
                <c:pt idx="23">
                  <c:v>3.9068</c:v>
                </c:pt>
                <c:pt idx="24">
                  <c:v>3.9132</c:v>
                </c:pt>
                <c:pt idx="25">
                  <c:v>2.602933333333333</c:v>
                </c:pt>
                <c:pt idx="26">
                  <c:v>2.6104</c:v>
                </c:pt>
                <c:pt idx="27">
                  <c:v>3.9252</c:v>
                </c:pt>
                <c:pt idx="28">
                  <c:v>3.9688</c:v>
                </c:pt>
                <c:pt idx="29">
                  <c:v>1.9964</c:v>
                </c:pt>
                <c:pt idx="30">
                  <c:v>4.0652</c:v>
                </c:pt>
                <c:pt idx="31">
                  <c:v>3.5241962774957702</c:v>
                </c:pt>
                <c:pt idx="32">
                  <c:v>0.8395754228512253</c:v>
                </c:pt>
                <c:pt idx="33">
                  <c:v>0.7824467654440935</c:v>
                </c:pt>
                <c:pt idx="34">
                  <c:v>0.7869533349621305</c:v>
                </c:pt>
                <c:pt idx="35">
                  <c:v>0.7973062303751446</c:v>
                </c:pt>
                <c:pt idx="36">
                  <c:v>0.79228290506486</c:v>
                </c:pt>
                <c:pt idx="37">
                  <c:v>0.8008816435165932</c:v>
                </c:pt>
                <c:pt idx="38">
                  <c:v>0.7925653594771241</c:v>
                </c:pt>
                <c:pt idx="39">
                  <c:v>0.8210587358131057</c:v>
                </c:pt>
                <c:pt idx="40">
                  <c:v>0.8130879683116026</c:v>
                </c:pt>
                <c:pt idx="41">
                  <c:v>0.7996051332675221</c:v>
                </c:pt>
                <c:pt idx="42">
                  <c:v>0.8144664558015648</c:v>
                </c:pt>
                <c:pt idx="43">
                  <c:v>0.8173561225332342</c:v>
                </c:pt>
                <c:pt idx="44">
                  <c:v>0.8214051214707814</c:v>
                </c:pt>
                <c:pt idx="45">
                  <c:v>7.748127518440169</c:v>
                </c:pt>
                <c:pt idx="46">
                  <c:v>17.991668206643553</c:v>
                </c:pt>
                <c:pt idx="47">
                  <c:v>1.4997355715889864</c:v>
                </c:pt>
              </c:numCache>
            </c:numRef>
          </c:xVal>
          <c:yVal>
            <c:numRef>
              <c:f>Sheet1!$B$140:$B$187</c:f>
              <c:numCache>
                <c:formatCode>General</c:formatCode>
                <c:ptCount val="48"/>
                <c:pt idx="0">
                  <c:v>0.10829985899588397</c:v>
                </c:pt>
                <c:pt idx="1">
                  <c:v>0.10817896041226878</c:v>
                </c:pt>
                <c:pt idx="2">
                  <c:v>0.10789580998746416</c:v>
                </c:pt>
                <c:pt idx="3">
                  <c:v>0.1073703367303327</c:v>
                </c:pt>
                <c:pt idx="4">
                  <c:v>0.1080914416523941</c:v>
                </c:pt>
                <c:pt idx="5">
                  <c:v>0.1074268993435091</c:v>
                </c:pt>
                <c:pt idx="6">
                  <c:v>0.10859199884853536</c:v>
                </c:pt>
                <c:pt idx="7">
                  <c:v>0.10851229943053957</c:v>
                </c:pt>
                <c:pt idx="8">
                  <c:v>0.1062987494702602</c:v>
                </c:pt>
                <c:pt idx="9">
                  <c:v>0.10684138267785827</c:v>
                </c:pt>
                <c:pt idx="10">
                  <c:v>0.10732725573138548</c:v>
                </c:pt>
                <c:pt idx="11">
                  <c:v>0.10829790474927072</c:v>
                </c:pt>
                <c:pt idx="12">
                  <c:v>0.1074791785116349</c:v>
                </c:pt>
                <c:pt idx="13">
                  <c:v>0.10650935648632144</c:v>
                </c:pt>
                <c:pt idx="14">
                  <c:v>0.10725102775883168</c:v>
                </c:pt>
                <c:pt idx="15">
                  <c:v>0.10958133338693124</c:v>
                </c:pt>
                <c:pt idx="16">
                  <c:v>0.1073898928939306</c:v>
                </c:pt>
                <c:pt idx="17">
                  <c:v>0.10617381550088659</c:v>
                </c:pt>
                <c:pt idx="18">
                  <c:v>0.10681431808580352</c:v>
                </c:pt>
                <c:pt idx="19">
                  <c:v>0.1062799190165458</c:v>
                </c:pt>
                <c:pt idx="20">
                  <c:v>0.10960790848309623</c:v>
                </c:pt>
                <c:pt idx="21">
                  <c:v>0.10612353348693727</c:v>
                </c:pt>
                <c:pt idx="22">
                  <c:v>0.10581633100890961</c:v>
                </c:pt>
                <c:pt idx="23">
                  <c:v>0.10955736369235104</c:v>
                </c:pt>
                <c:pt idx="24">
                  <c:v>0.10956570097742242</c:v>
                </c:pt>
                <c:pt idx="25">
                  <c:v>0.10785881555249832</c:v>
                </c:pt>
                <c:pt idx="26">
                  <c:v>0.10786854238508159</c:v>
                </c:pt>
                <c:pt idx="27">
                  <c:v>0.10958133338693124</c:v>
                </c:pt>
                <c:pt idx="28">
                  <c:v>0.10963813114147995</c:v>
                </c:pt>
                <c:pt idx="29">
                  <c:v>0.107068684098547</c:v>
                </c:pt>
                <c:pt idx="30">
                  <c:v>0.10976371149786747</c:v>
                </c:pt>
                <c:pt idx="31">
                  <c:v>0.10905894551986899</c:v>
                </c:pt>
                <c:pt idx="32">
                  <c:v>0.10556168780522562</c:v>
                </c:pt>
                <c:pt idx="33">
                  <c:v>0.10548726625795252</c:v>
                </c:pt>
                <c:pt idx="34">
                  <c:v>0.10549313696963468</c:v>
                </c:pt>
                <c:pt idx="35">
                  <c:v>0.10550662369469287</c:v>
                </c:pt>
                <c:pt idx="36">
                  <c:v>0.10550007980483066</c:v>
                </c:pt>
                <c:pt idx="37">
                  <c:v>0.1055112813882254</c:v>
                </c:pt>
                <c:pt idx="38">
                  <c:v>0.10550044775841734</c:v>
                </c:pt>
                <c:pt idx="39">
                  <c:v>0.10553756610234842</c:v>
                </c:pt>
                <c:pt idx="40">
                  <c:v>0.10552718257720815</c:v>
                </c:pt>
                <c:pt idx="41">
                  <c:v>0.10550961847731241</c:v>
                </c:pt>
                <c:pt idx="42">
                  <c:v>0.10552897833395365</c:v>
                </c:pt>
                <c:pt idx="43">
                  <c:v>0.10553274270509477</c:v>
                </c:pt>
                <c:pt idx="44">
                  <c:v>0.10553801733921915</c:v>
                </c:pt>
                <c:pt idx="45">
                  <c:v>0.11456146409449719</c:v>
                </c:pt>
                <c:pt idx="46">
                  <c:v>0.12790573266601793</c:v>
                </c:pt>
                <c:pt idx="47">
                  <c:v>0.10642167895409828</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9499</c:v>
                </c:pt>
                <c:pt idx="1">
                  <c:v>0.9645</c:v>
                </c:pt>
                <c:pt idx="2">
                  <c:v>0.9632</c:v>
                </c:pt>
                <c:pt idx="3">
                  <c:v>0.9644</c:v>
                </c:pt>
                <c:pt idx="4">
                  <c:v>0.9677</c:v>
                </c:pt>
                <c:pt idx="5">
                  <c:v>0.9861</c:v>
                </c:pt>
                <c:pt idx="6">
                  <c:v>0.9725</c:v>
                </c:pt>
                <c:pt idx="7">
                  <c:v>0.9778</c:v>
                </c:pt>
                <c:pt idx="8">
                  <c:v>0.9832</c:v>
                </c:pt>
                <c:pt idx="9">
                  <c:v>0.9763</c:v>
                </c:pt>
                <c:pt idx="10">
                  <c:v>0.9835</c:v>
                </c:pt>
                <c:pt idx="11">
                  <c:v>1.0028</c:v>
                </c:pt>
                <c:pt idx="12">
                  <c:v>0.9795</c:v>
                </c:pt>
                <c:pt idx="13">
                  <c:v>0.9894</c:v>
                </c:pt>
                <c:pt idx="14">
                  <c:v>0.9887</c:v>
                </c:pt>
                <c:pt idx="15">
                  <c:v>1.0202</c:v>
                </c:pt>
                <c:pt idx="16">
                  <c:v>0.9768</c:v>
                </c:pt>
                <c:pt idx="17">
                  <c:v>0.9825</c:v>
                </c:pt>
                <c:pt idx="18">
                  <c:v>0.9826</c:v>
                </c:pt>
                <c:pt idx="19">
                  <c:v>0.9864</c:v>
                </c:pt>
                <c:pt idx="20">
                  <c:v>0.998</c:v>
                </c:pt>
                <c:pt idx="21">
                  <c:v>0.9984</c:v>
                </c:pt>
                <c:pt idx="22">
                  <c:v>1.0031</c:v>
                </c:pt>
                <c:pt idx="23">
                  <c:v>0.9979</c:v>
                </c:pt>
                <c:pt idx="24">
                  <c:v>0.9992</c:v>
                </c:pt>
                <c:pt idx="25">
                  <c:v>0.9939</c:v>
                </c:pt>
                <c:pt idx="26">
                  <c:v>0.9933</c:v>
                </c:pt>
                <c:pt idx="27">
                  <c:v>1.0024</c:v>
                </c:pt>
                <c:pt idx="28">
                  <c:v>1.0201</c:v>
                </c:pt>
                <c:pt idx="29">
                  <c:v>1.0037</c:v>
                </c:pt>
                <c:pt idx="30">
                  <c:v>1.0</c:v>
                </c:pt>
                <c:pt idx="31">
                  <c:v>0.9682</c:v>
                </c:pt>
                <c:pt idx="32">
                  <c:v>0.9215</c:v>
                </c:pt>
                <c:pt idx="33">
                  <c:v>0.9116</c:v>
                </c:pt>
                <c:pt idx="34">
                  <c:v>0.9177</c:v>
                </c:pt>
                <c:pt idx="35">
                  <c:v>0.9161</c:v>
                </c:pt>
                <c:pt idx="36">
                  <c:v>0.9093</c:v>
                </c:pt>
                <c:pt idx="37">
                  <c:v>0.9114</c:v>
                </c:pt>
                <c:pt idx="38">
                  <c:v>0.9059</c:v>
                </c:pt>
                <c:pt idx="39">
                  <c:v>0.9118</c:v>
                </c:pt>
                <c:pt idx="40">
                  <c:v>0.9324</c:v>
                </c:pt>
                <c:pt idx="41">
                  <c:v>0.9379</c:v>
                </c:pt>
                <c:pt idx="42">
                  <c:v>0.9419</c:v>
                </c:pt>
                <c:pt idx="43">
                  <c:v>0.9422</c:v>
                </c:pt>
                <c:pt idx="44">
                  <c:v>0.9837</c:v>
                </c:pt>
                <c:pt idx="45">
                  <c:v>1.0438</c:v>
                </c:pt>
                <c:pt idx="46">
                  <c:v>1.0852</c:v>
                </c:pt>
                <c:pt idx="47">
                  <c:v>1.0736</c:v>
                </c:pt>
                <c:pt idx="48">
                  <c:v>1.1156</c:v>
                </c:pt>
                <c:pt idx="49">
                  <c:v>1.1025</c:v>
                </c:pt>
                <c:pt idx="50">
                  <c:v>1.1764</c:v>
                </c:pt>
                <c:pt idx="51">
                  <c:v>1.0036</c:v>
                </c:pt>
                <c:pt idx="52">
                  <c:v>0.9715</c:v>
                </c:pt>
                <c:pt idx="53">
                  <c:v>0.9833</c:v>
                </c:pt>
                <c:pt idx="54">
                  <c:v>0.9582</c:v>
                </c:pt>
                <c:pt idx="55">
                  <c:v>0.9663</c:v>
                </c:pt>
                <c:pt idx="56">
                  <c:v>0.9772</c:v>
                </c:pt>
                <c:pt idx="57">
                  <c:v>0.9779</c:v>
                </c:pt>
                <c:pt idx="58">
                  <c:v>0.9792</c:v>
                </c:pt>
                <c:pt idx="59">
                  <c:v>0.9908</c:v>
                </c:pt>
                <c:pt idx="60">
                  <c:v>0.9839</c:v>
                </c:pt>
                <c:pt idx="61">
                  <c:v>0.9749</c:v>
                </c:pt>
                <c:pt idx="62">
                  <c:v>0.9786</c:v>
                </c:pt>
                <c:pt idx="63">
                  <c:v>0.9902</c:v>
                </c:pt>
                <c:pt idx="64">
                  <c:v>0.9842</c:v>
                </c:pt>
              </c:numCache>
            </c:numRef>
          </c:xVal>
          <c:yVal>
            <c:numRef>
              <c:f>Sheet1!$B$2:$B$66</c:f>
              <c:numCache>
                <c:formatCode>General</c:formatCode>
                <c:ptCount val="65"/>
                <c:pt idx="0">
                  <c:v>0.12215438006093443</c:v>
                </c:pt>
                <c:pt idx="1">
                  <c:v>0.11484783064304449</c:v>
                </c:pt>
                <c:pt idx="2">
                  <c:v>0.11152369652941639</c:v>
                </c:pt>
                <c:pt idx="3">
                  <c:v>0.10942909741245323</c:v>
                </c:pt>
                <c:pt idx="4">
                  <c:v>0.1082287756777896</c:v>
                </c:pt>
                <c:pt idx="5">
                  <c:v>0.10875225332740987</c:v>
                </c:pt>
                <c:pt idx="6">
                  <c:v>0.11279187296016653</c:v>
                </c:pt>
                <c:pt idx="7">
                  <c:v>0.11858870939861668</c:v>
                </c:pt>
                <c:pt idx="8">
                  <c:v>0.11641180241465547</c:v>
                </c:pt>
                <c:pt idx="9">
                  <c:v>0.11103292838041531</c:v>
                </c:pt>
                <c:pt idx="10">
                  <c:v>0.10932660073071675</c:v>
                </c:pt>
                <c:pt idx="11">
                  <c:v>0.11562889516275576</c:v>
                </c:pt>
                <c:pt idx="12">
                  <c:v>0.10826373562196055</c:v>
                </c:pt>
                <c:pt idx="13">
                  <c:v>0.1077951818562212</c:v>
                </c:pt>
                <c:pt idx="14">
                  <c:v>0.10871332138385148</c:v>
                </c:pt>
                <c:pt idx="15">
                  <c:v>0.11567653830670825</c:v>
                </c:pt>
                <c:pt idx="16">
                  <c:v>0.10913012734853457</c:v>
                </c:pt>
                <c:pt idx="17">
                  <c:v>0.10776762814785901</c:v>
                </c:pt>
                <c:pt idx="18">
                  <c:v>0.10598728192971538</c:v>
                </c:pt>
                <c:pt idx="19">
                  <c:v>0.10709732256693583</c:v>
                </c:pt>
                <c:pt idx="20">
                  <c:v>0.1102258426390447</c:v>
                </c:pt>
                <c:pt idx="21">
                  <c:v>0.11009675295346825</c:v>
                </c:pt>
                <c:pt idx="22">
                  <c:v>0.11062824233714552</c:v>
                </c:pt>
                <c:pt idx="23">
                  <c:v>0.10993212817459322</c:v>
                </c:pt>
                <c:pt idx="24">
                  <c:v>0.1091092864492889</c:v>
                </c:pt>
                <c:pt idx="25">
                  <c:v>0.11043648325267316</c:v>
                </c:pt>
                <c:pt idx="26">
                  <c:v>0.11013315642576225</c:v>
                </c:pt>
                <c:pt idx="27">
                  <c:v>0.11328276651369455</c:v>
                </c:pt>
                <c:pt idx="28">
                  <c:v>0.11726149266616401</c:v>
                </c:pt>
                <c:pt idx="29">
                  <c:v>0.1101614107125375</c:v>
                </c:pt>
                <c:pt idx="30">
                  <c:v>0.10943895708072134</c:v>
                </c:pt>
                <c:pt idx="31">
                  <c:v>0.113730981890974</c:v>
                </c:pt>
                <c:pt idx="32">
                  <c:v>0.1228743932936895</c:v>
                </c:pt>
                <c:pt idx="33">
                  <c:v>0.12418877703121059</c:v>
                </c:pt>
                <c:pt idx="34">
                  <c:v>0.1221713888205163</c:v>
                </c:pt>
                <c:pt idx="35">
                  <c:v>0.12331250467083314</c:v>
                </c:pt>
                <c:pt idx="36">
                  <c:v>0.12429161779375734</c:v>
                </c:pt>
                <c:pt idx="37">
                  <c:v>0.1235980183695</c:v>
                </c:pt>
                <c:pt idx="38">
                  <c:v>0.12398003515237974</c:v>
                </c:pt>
                <c:pt idx="39">
                  <c:v>0.12359210330020026</c:v>
                </c:pt>
                <c:pt idx="40">
                  <c:v>0.13113814104391705</c:v>
                </c:pt>
                <c:pt idx="41">
                  <c:v>0.12953915868174423</c:v>
                </c:pt>
                <c:pt idx="42">
                  <c:v>0.1253242687181322</c:v>
                </c:pt>
                <c:pt idx="43">
                  <c:v>0.12591985990964488</c:v>
                </c:pt>
                <c:pt idx="44">
                  <c:v>0.12174351530820482</c:v>
                </c:pt>
                <c:pt idx="45">
                  <c:v>0.11689902883569653</c:v>
                </c:pt>
                <c:pt idx="46">
                  <c:v>0.11963898961838798</c:v>
                </c:pt>
                <c:pt idx="47">
                  <c:v>0.12039376551909267</c:v>
                </c:pt>
                <c:pt idx="48">
                  <c:v>0.12555255616140273</c:v>
                </c:pt>
                <c:pt idx="49">
                  <c:v>0.12742177224642712</c:v>
                </c:pt>
                <c:pt idx="50">
                  <c:v>0.1373699051812452</c:v>
                </c:pt>
                <c:pt idx="51">
                  <c:v>0.16216715764777548</c:v>
                </c:pt>
                <c:pt idx="52">
                  <c:v>0.11068818721431165</c:v>
                </c:pt>
                <c:pt idx="53">
                  <c:v>0.1022223225646028</c:v>
                </c:pt>
                <c:pt idx="54">
                  <c:v>0.10603226174582013</c:v>
                </c:pt>
                <c:pt idx="55">
                  <c:v>0.10719584085213267</c:v>
                </c:pt>
                <c:pt idx="56">
                  <c:v>0.10711736168903059</c:v>
                </c:pt>
                <c:pt idx="57">
                  <c:v>0.10711873859166939</c:v>
                </c:pt>
                <c:pt idx="58">
                  <c:v>0.10651022120881035</c:v>
                </c:pt>
                <c:pt idx="59">
                  <c:v>0.11858956076353228</c:v>
                </c:pt>
                <c:pt idx="60">
                  <c:v>0.10899132373332655</c:v>
                </c:pt>
                <c:pt idx="61">
                  <c:v>0.10650570307952435</c:v>
                </c:pt>
                <c:pt idx="62">
                  <c:v>0.10517101405125472</c:v>
                </c:pt>
                <c:pt idx="63">
                  <c:v>0.11679826939398077</c:v>
                </c:pt>
                <c:pt idx="64">
                  <c:v>0.1141284860347685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3</c:f>
              <c:numCache>
                <c:formatCode>General</c:formatCode>
                <c:ptCount val="45"/>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numCache>
            </c:numRef>
          </c:xVal>
          <c:yVal>
            <c:numRef>
              <c:f>Sheet1!$B$69:$B$113</c:f>
              <c:numCache>
                <c:formatCode>General</c:formatCode>
                <c:ptCount val="45"/>
                <c:pt idx="0">
                  <c:v>0.10688311959200843</c:v>
                </c:pt>
                <c:pt idx="1">
                  <c:v>0.10704554196980541</c:v>
                </c:pt>
                <c:pt idx="2">
                  <c:v>0.11665230494501336</c:v>
                </c:pt>
                <c:pt idx="3">
                  <c:v>0.10891009398354655</c:v>
                </c:pt>
                <c:pt idx="4">
                  <c:v>0.10765302114738903</c:v>
                </c:pt>
                <c:pt idx="5">
                  <c:v>0.10766064722219891</c:v>
                </c:pt>
                <c:pt idx="6">
                  <c:v>0.10696461464353949</c:v>
                </c:pt>
                <c:pt idx="7">
                  <c:v>0.11292217124934129</c:v>
                </c:pt>
                <c:pt idx="8">
                  <c:v>0.1063210447101742</c:v>
                </c:pt>
                <c:pt idx="9">
                  <c:v>0.10587091487980924</c:v>
                </c:pt>
                <c:pt idx="10">
                  <c:v>0.10377705938889341</c:v>
                </c:pt>
                <c:pt idx="11">
                  <c:v>0.1044459551559037</c:v>
                </c:pt>
                <c:pt idx="12">
                  <c:v>0.10485983028888403</c:v>
                </c:pt>
                <c:pt idx="13">
                  <c:v>0.10230704697986577</c:v>
                </c:pt>
                <c:pt idx="14">
                  <c:v>0.10381532527777682</c:v>
                </c:pt>
                <c:pt idx="15">
                  <c:v>0.10328156044357628</c:v>
                </c:pt>
                <c:pt idx="16">
                  <c:v>0.1036088132612386</c:v>
                </c:pt>
                <c:pt idx="17">
                  <c:v>0.10398480241714576</c:v>
                </c:pt>
                <c:pt idx="18">
                  <c:v>0.10320816592329433</c:v>
                </c:pt>
                <c:pt idx="19">
                  <c:v>0.10412571987675195</c:v>
                </c:pt>
                <c:pt idx="20">
                  <c:v>0.10387352488665087</c:v>
                </c:pt>
                <c:pt idx="21">
                  <c:v>0.10506361985422477</c:v>
                </c:pt>
                <c:pt idx="22">
                  <c:v>0.10383479080942538</c:v>
                </c:pt>
                <c:pt idx="23">
                  <c:v>0.1049083527580186</c:v>
                </c:pt>
                <c:pt idx="24">
                  <c:v>0.10429006286114183</c:v>
                </c:pt>
                <c:pt idx="25">
                  <c:v>0.10673665461981746</c:v>
                </c:pt>
                <c:pt idx="26">
                  <c:v>0.10563735021623562</c:v>
                </c:pt>
                <c:pt idx="27">
                  <c:v>0.10687775425324735</c:v>
                </c:pt>
                <c:pt idx="28">
                  <c:v>0.11353794610420875</c:v>
                </c:pt>
                <c:pt idx="29">
                  <c:v>0.1145124165372959</c:v>
                </c:pt>
                <c:pt idx="30">
                  <c:v>0.11883334438296055</c:v>
                </c:pt>
                <c:pt idx="31">
                  <c:v>0.12796997307303495</c:v>
                </c:pt>
                <c:pt idx="32">
                  <c:v>0.1088622986837437</c:v>
                </c:pt>
                <c:pt idx="33">
                  <c:v>0.10835951555433204</c:v>
                </c:pt>
                <c:pt idx="34">
                  <c:v>0.10621209081919182</c:v>
                </c:pt>
                <c:pt idx="35">
                  <c:v>0.10348207534794483</c:v>
                </c:pt>
                <c:pt idx="36">
                  <c:v>0.10241615336787425</c:v>
                </c:pt>
                <c:pt idx="37">
                  <c:v>0.10230810455636806</c:v>
                </c:pt>
                <c:pt idx="38">
                  <c:v>0.10548312769385185</c:v>
                </c:pt>
                <c:pt idx="39">
                  <c:v>0.11277252099110181</c:v>
                </c:pt>
                <c:pt idx="40">
                  <c:v>0.1110399996019414</c:v>
                </c:pt>
                <c:pt idx="41">
                  <c:v>0.10312625318380512</c:v>
                </c:pt>
                <c:pt idx="42">
                  <c:v>0.10156642997798264</c:v>
                </c:pt>
                <c:pt idx="43">
                  <c:v>0.10559882310276464</c:v>
                </c:pt>
                <c:pt idx="44">
                  <c:v>0.1122544335223753</c:v>
                </c:pt>
              </c:numCache>
            </c:numRef>
          </c:yVal>
          <c:smooth val="0"/>
          <c:extLst>
            <c:ext xmlns:c16="http://schemas.microsoft.com/office/drawing/2014/chart" uri="{C3380CC4-5D6E-409C-BE32-E72D297353CC}">
              <c16:uniqueId val="{00000002-F32D-48B7-BC20-E66FC6253BAD}"/>
            </c:ext>
          </c:extLst>
        </c:ser>
        <c:ser>
          <c:idx val="2"/>
          <c:order val="2"/>
          <c:tx>
            <c:strRef>
              <c:f>Sheet1!$B$115</c:f>
              <c:strCache>
                <c:ptCount val="1"/>
                <c:pt idx="0">
                  <c:v>Custom Linep3yQ</c:v>
                </c:pt>
              </c:strCache>
            </c:strRef>
          </c:tx>
          <c:spPr>
            <a:ln w="19050" cap="rnd">
              <a:solidFill>
                <a:srgbClr val="C00000"/>
              </a:solidFill>
              <a:prstDash val="sysDot"/>
              <a:round/>
            </a:ln>
            <a:effectLst/>
          </c:spPr>
          <c:marker>
            <c:symbol val="none"/>
          </c:marker>
          <c:xVal>
            <c:numRef>
              <c:f>Sheet1!$A$116:$A$117</c:f>
              <c:numCache>
                <c:formatCode>General</c:formatCode>
                <c:ptCount val="2"/>
                <c:pt idx="0">
                  <c:v>0</c:v>
                </c:pt>
                <c:pt idx="1">
                  <c:v>1.0496347724293125</c:v>
                </c:pt>
              </c:numCache>
            </c:numRef>
          </c:xVal>
          <c:yVal>
            <c:numRef>
              <c:f>Sheet1!$B$116:$B$117</c:f>
              <c:numCache>
                <c:formatCode>General</c:formatCode>
                <c:ptCount val="2"/>
                <c:pt idx="0">
                  <c:v>0.12790573266601793</c:v>
                </c:pt>
                <c:pt idx="1">
                  <c:v>0.12790573266601793</c:v>
                </c:pt>
              </c:numCache>
            </c:numRef>
          </c:yVal>
          <c:smooth val="0"/>
          <c:extLst>
            <c:ext xmlns:c16="http://schemas.microsoft.com/office/drawing/2014/chart" uri="{C3380CC4-5D6E-409C-BE32-E72D297353CC}">
              <c16:uniqueId val="{00000003-F32D-48B7-BC20-E66FC6253BAD}"/>
            </c:ext>
          </c:extLst>
        </c:ser>
        <c:ser>
          <c:idx val="3"/>
          <c:order val="3"/>
          <c:tx>
            <c:strRef>
              <c:f>Sheet1!$B$119</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0:$A$121</c:f>
              <c:numCache>
                <c:formatCode>General</c:formatCode>
                <c:ptCount val="2"/>
                <c:pt idx="0">
                  <c:v>1.0496347724293125</c:v>
                </c:pt>
                <c:pt idx="1">
                  <c:v>1.0496347724293125</c:v>
                </c:pt>
              </c:numCache>
            </c:numRef>
          </c:xVal>
          <c:yVal>
            <c:numRef>
              <c:f>Sheet1!$B$120:$B$121</c:f>
              <c:numCache>
                <c:formatCode>General</c:formatCode>
                <c:ptCount val="2"/>
                <c:pt idx="0">
                  <c:v>0.12790573266601793</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3</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24:$A$125</c:f>
              <c:numCache>
                <c:formatCode>General</c:formatCode>
                <c:ptCount val="2"/>
                <c:pt idx="0">
                  <c:v>0</c:v>
                </c:pt>
                <c:pt idx="1">
                  <c:v>1.0064852537365205</c:v>
                </c:pt>
              </c:numCache>
            </c:numRef>
          </c:xVal>
          <c:yVal>
            <c:numRef>
              <c:f>Sheet1!$B$124:$B$125</c:f>
              <c:numCache>
                <c:formatCode>General</c:formatCode>
                <c:ptCount val="2"/>
                <c:pt idx="0">
                  <c:v>0.11456146409449719</c:v>
                </c:pt>
                <c:pt idx="1">
                  <c:v>0.11456146409449719</c:v>
                </c:pt>
              </c:numCache>
            </c:numRef>
          </c:yVal>
          <c:smooth val="0"/>
          <c:extLst>
            <c:ext xmlns:c16="http://schemas.microsoft.com/office/drawing/2014/chart" uri="{C3380CC4-5D6E-409C-BE32-E72D297353CC}">
              <c16:uniqueId val="{0000000A-F32D-48B7-BC20-E66FC6253BAD}"/>
            </c:ext>
          </c:extLst>
        </c:ser>
        <c:ser>
          <c:idx val="5"/>
          <c:order val="5"/>
          <c:tx>
            <c:strRef>
              <c:f>Sheet1!$B$127</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8:$A$129</c:f>
              <c:numCache>
                <c:formatCode>General</c:formatCode>
                <c:ptCount val="2"/>
                <c:pt idx="0">
                  <c:v>1.0064852537365205</c:v>
                </c:pt>
                <c:pt idx="1">
                  <c:v>1.0064852537365205</c:v>
                </c:pt>
              </c:numCache>
            </c:numRef>
          </c:xVal>
          <c:yVal>
            <c:numRef>
              <c:f>Sheet1!$B$128:$B$129</c:f>
              <c:numCache>
                <c:formatCode>General</c:formatCode>
                <c:ptCount val="2"/>
                <c:pt idx="0">
                  <c:v>0.1145614640944971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1</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2:$A$133</c:f>
              <c:numCache>
                <c:formatCode>General</c:formatCode>
                <c:ptCount val="2"/>
                <c:pt idx="0">
                  <c:v>0</c:v>
                </c:pt>
                <c:pt idx="1">
                  <c:v>0.980164754475846</c:v>
                </c:pt>
              </c:numCache>
            </c:numRef>
          </c:xVal>
          <c:yVal>
            <c:numRef>
              <c:f>Sheet1!$B$132:$B$133</c:f>
              <c:numCache>
                <c:formatCode>General</c:formatCode>
                <c:ptCount val="2"/>
                <c:pt idx="0">
                  <c:v>0.10642167895409828</c:v>
                </c:pt>
                <c:pt idx="1">
                  <c:v>0.10642167895409828</c:v>
                </c:pt>
              </c:numCache>
            </c:numRef>
          </c:yVal>
          <c:smooth val="0"/>
          <c:extLst>
            <c:ext xmlns:c16="http://schemas.microsoft.com/office/drawing/2014/chart" uri="{C3380CC4-5D6E-409C-BE32-E72D297353CC}">
              <c16:uniqueId val="{00000011-F32D-48B7-BC20-E66FC6253BAD}"/>
            </c:ext>
          </c:extLst>
        </c:ser>
        <c:ser>
          <c:idx val="7"/>
          <c:order val="7"/>
          <c:tx>
            <c:strRef>
              <c:f>Sheet1!$B$135</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6:$A$137</c:f>
              <c:numCache>
                <c:formatCode>General</c:formatCode>
                <c:ptCount val="2"/>
                <c:pt idx="0">
                  <c:v>0.980164754475846</c:v>
                </c:pt>
                <c:pt idx="1">
                  <c:v>0.980164754475846</c:v>
                </c:pt>
              </c:numCache>
            </c:numRef>
          </c:xVal>
          <c:yVal>
            <c:numRef>
              <c:f>Sheet1!$B$136:$B$137</c:f>
              <c:numCache>
                <c:formatCode>General</c:formatCode>
                <c:ptCount val="2"/>
                <c:pt idx="0">
                  <c:v>0.1064216789540982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39</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0:$A$187</c:f>
              <c:numCache>
                <c:formatCode>General</c:formatCode>
                <c:ptCount val="48"/>
                <c:pt idx="0">
                  <c:v>0.9804</c:v>
                </c:pt>
                <c:pt idx="1">
                  <c:v>0.9771</c:v>
                </c:pt>
                <c:pt idx="2">
                  <c:v>1.0078</c:v>
                </c:pt>
                <c:pt idx="3">
                  <c:v>0.9881</c:v>
                </c:pt>
                <c:pt idx="4">
                  <c:v>0.9866</c:v>
                </c:pt>
                <c:pt idx="5">
                  <c:v>0.9801</c:v>
                </c:pt>
                <c:pt idx="6">
                  <c:v>0.9798</c:v>
                </c:pt>
                <c:pt idx="7">
                  <c:v>0.9916</c:v>
                </c:pt>
                <c:pt idx="8">
                  <c:v>0.9787</c:v>
                </c:pt>
                <c:pt idx="9">
                  <c:v>0.976</c:v>
                </c:pt>
                <c:pt idx="10">
                  <c:v>0.9877</c:v>
                </c:pt>
                <c:pt idx="11">
                  <c:v>0.9799</c:v>
                </c:pt>
                <c:pt idx="12">
                  <c:v>0.978</c:v>
                </c:pt>
                <c:pt idx="13">
                  <c:v>0.9794</c:v>
                </c:pt>
                <c:pt idx="14">
                  <c:v>0.9791</c:v>
                </c:pt>
                <c:pt idx="15">
                  <c:v>0.9813</c:v>
                </c:pt>
                <c:pt idx="16">
                  <c:v>0.9813</c:v>
                </c:pt>
                <c:pt idx="17">
                  <c:v>0.9821</c:v>
                </c:pt>
                <c:pt idx="18">
                  <c:v>0.98</c:v>
                </c:pt>
                <c:pt idx="19">
                  <c:v>0.9799</c:v>
                </c:pt>
                <c:pt idx="20">
                  <c:v>0.9864</c:v>
                </c:pt>
                <c:pt idx="21">
                  <c:v>0.982</c:v>
                </c:pt>
                <c:pt idx="22">
                  <c:v>0.9775</c:v>
                </c:pt>
                <c:pt idx="23">
                  <c:v>0.9767</c:v>
                </c:pt>
                <c:pt idx="24">
                  <c:v>0.9783</c:v>
                </c:pt>
                <c:pt idx="25">
                  <c:v>0.9761</c:v>
                </c:pt>
                <c:pt idx="26">
                  <c:v>0.9789</c:v>
                </c:pt>
                <c:pt idx="27">
                  <c:v>0.9813</c:v>
                </c:pt>
                <c:pt idx="28">
                  <c:v>0.9922</c:v>
                </c:pt>
                <c:pt idx="29">
                  <c:v>0.9982</c:v>
                </c:pt>
                <c:pt idx="30">
                  <c:v>1.0163</c:v>
                </c:pt>
                <c:pt idx="31">
                  <c:v>1.0414</c:v>
                </c:pt>
                <c:pt idx="32">
                  <c:v>0.9729</c:v>
                </c:pt>
                <c:pt idx="33">
                  <c:v>0.9664</c:v>
                </c:pt>
                <c:pt idx="34">
                  <c:v>0.9663</c:v>
                </c:pt>
                <c:pt idx="35">
                  <c:v>0.9649</c:v>
                </c:pt>
                <c:pt idx="36">
                  <c:v>0.9589</c:v>
                </c:pt>
                <c:pt idx="37">
                  <c:v>0.9629</c:v>
                </c:pt>
                <c:pt idx="38">
                  <c:v>0.9701</c:v>
                </c:pt>
                <c:pt idx="39">
                  <c:v>0.9911</c:v>
                </c:pt>
                <c:pt idx="40">
                  <c:v>0.9853</c:v>
                </c:pt>
                <c:pt idx="41">
                  <c:v>0.972</c:v>
                </c:pt>
                <c:pt idx="42">
                  <c:v>0.9785</c:v>
                </c:pt>
                <c:pt idx="43">
                  <c:v>0.9899</c:v>
                </c:pt>
                <c:pt idx="44">
                  <c:v>1.0008</c:v>
                </c:pt>
                <c:pt idx="45">
                  <c:v>1.0064852537365205</c:v>
                </c:pt>
                <c:pt idx="46">
                  <c:v>1.0496347724293125</c:v>
                </c:pt>
                <c:pt idx="47">
                  <c:v>0.980164754475846</c:v>
                </c:pt>
              </c:numCache>
            </c:numRef>
          </c:xVal>
          <c:yVal>
            <c:numRef>
              <c:f>Sheet1!$B$140:$B$187</c:f>
              <c:numCache>
                <c:formatCode>General</c:formatCode>
                <c:ptCount val="48"/>
                <c:pt idx="0">
                  <c:v>0.1064944301585071</c:v>
                </c:pt>
                <c:pt idx="1">
                  <c:v>0.10547388375103636</c:v>
                </c:pt>
                <c:pt idx="2">
                  <c:v>0.11496805790538492</c:v>
                </c:pt>
                <c:pt idx="3">
                  <c:v>0.108875705109272</c:v>
                </c:pt>
                <c:pt idx="4">
                  <c:v>0.1084118203786035</c:v>
                </c:pt>
                <c:pt idx="5">
                  <c:v>0.10640165321237335</c:v>
                </c:pt>
                <c:pt idx="6">
                  <c:v>0.10630887626623967</c:v>
                </c:pt>
                <c:pt idx="7">
                  <c:v>0.10995810281416521</c:v>
                </c:pt>
                <c:pt idx="8">
                  <c:v>0.10596869413041612</c:v>
                </c:pt>
                <c:pt idx="9">
                  <c:v>0.10513370161521282</c:v>
                </c:pt>
                <c:pt idx="10">
                  <c:v>0.1087520025144271</c:v>
                </c:pt>
                <c:pt idx="11">
                  <c:v>0.10633980191495088</c:v>
                </c:pt>
                <c:pt idx="12">
                  <c:v>0.10575221458943748</c:v>
                </c:pt>
                <c:pt idx="13">
                  <c:v>0.10618517367139477</c:v>
                </c:pt>
                <c:pt idx="14">
                  <c:v>0.10609239672526102</c:v>
                </c:pt>
                <c:pt idx="15">
                  <c:v>0.10677276099690816</c:v>
                </c:pt>
                <c:pt idx="16">
                  <c:v>0.10677276099690816</c:v>
                </c:pt>
                <c:pt idx="17">
                  <c:v>0.10702016618659801</c:v>
                </c:pt>
                <c:pt idx="18">
                  <c:v>0.10637072756366214</c:v>
                </c:pt>
                <c:pt idx="19">
                  <c:v>0.10633980191495088</c:v>
                </c:pt>
                <c:pt idx="20">
                  <c:v>0.10834996908118108</c:v>
                </c:pt>
                <c:pt idx="21">
                  <c:v>0.1069892405378868</c:v>
                </c:pt>
                <c:pt idx="22">
                  <c:v>0.10559758634588132</c:v>
                </c:pt>
                <c:pt idx="23">
                  <c:v>0.10535018115619146</c:v>
                </c:pt>
                <c:pt idx="24">
                  <c:v>0.10584499153557117</c:v>
                </c:pt>
                <c:pt idx="25">
                  <c:v>0.10516462726392403</c:v>
                </c:pt>
                <c:pt idx="26">
                  <c:v>0.10603054542783855</c:v>
                </c:pt>
                <c:pt idx="27">
                  <c:v>0.10677276099690816</c:v>
                </c:pt>
                <c:pt idx="28">
                  <c:v>0.11014365670643259</c:v>
                </c:pt>
                <c:pt idx="29">
                  <c:v>0.11199919562910657</c:v>
                </c:pt>
                <c:pt idx="30">
                  <c:v>0.11759673804583973</c:v>
                </c:pt>
                <c:pt idx="31">
                  <c:v>0.12535907587235925</c:v>
                </c:pt>
                <c:pt idx="32">
                  <c:v>0.10417500650516456</c:v>
                </c:pt>
                <c:pt idx="33">
                  <c:v>0.10216483933893447</c:v>
                </c:pt>
                <c:pt idx="34">
                  <c:v>0.1021339136902232</c:v>
                </c:pt>
                <c:pt idx="35">
                  <c:v>0.10170095460826592</c:v>
                </c:pt>
                <c:pt idx="36">
                  <c:v>0.09984541568559194</c:v>
                </c:pt>
                <c:pt idx="37">
                  <c:v>0.10108244163404126</c:v>
                </c:pt>
                <c:pt idx="38">
                  <c:v>0.10330908834125005</c:v>
                </c:pt>
                <c:pt idx="39">
                  <c:v>0.10980347457060899</c:v>
                </c:pt>
                <c:pt idx="40">
                  <c:v>0.10800978694535748</c:v>
                </c:pt>
                <c:pt idx="41">
                  <c:v>0.1038966756667635</c:v>
                </c:pt>
                <c:pt idx="42">
                  <c:v>0.10590684283299365</c:v>
                </c:pt>
                <c:pt idx="43">
                  <c:v>0.10943236678607424</c:v>
                </c:pt>
                <c:pt idx="44">
                  <c:v>0.1128032624955986</c:v>
                </c:pt>
                <c:pt idx="45">
                  <c:v>0.11456146409449722</c:v>
                </c:pt>
                <c:pt idx="46">
                  <c:v>0.12790573266601787</c:v>
                </c:pt>
                <c:pt idx="47">
                  <c:v>0.106421678954098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460058917733056"/>
          <c:min val="0.081253143982386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3019221027748071</c:v>
                </c:pt>
                <c:pt idx="1">
                  <c:v>1.3114098528035394</c:v>
                </c:pt>
                <c:pt idx="2">
                  <c:v>1.3226042219005716</c:v>
                </c:pt>
                <c:pt idx="3">
                  <c:v>1.3303967269668846</c:v>
                </c:pt>
                <c:pt idx="4">
                  <c:v>1.2922730471498942</c:v>
                </c:pt>
                <c:pt idx="5">
                  <c:v>1.4088543642184157</c:v>
                </c:pt>
                <c:pt idx="6">
                  <c:v>1.365977352549352</c:v>
                </c:pt>
                <c:pt idx="7">
                  <c:v>1.3422363749942865</c:v>
                </c:pt>
                <c:pt idx="8">
                  <c:v>1.2577696526508226</c:v>
                </c:pt>
                <c:pt idx="9">
                  <c:v>1.2525802917603643</c:v>
                </c:pt>
                <c:pt idx="10">
                  <c:v>1.2708263462576006</c:v>
                </c:pt>
                <c:pt idx="11">
                  <c:v>0.9011638807563062</c:v>
                </c:pt>
                <c:pt idx="12">
                  <c:v>0.8787909553715172</c:v>
                </c:pt>
                <c:pt idx="13">
                  <c:v>0.9075344982144694</c:v>
                </c:pt>
                <c:pt idx="14">
                  <c:v>0.8869380234003985</c:v>
                </c:pt>
                <c:pt idx="15">
                  <c:v>0.6879984525651708</c:v>
                </c:pt>
                <c:pt idx="16">
                  <c:v>0.6812132090108454</c:v>
                </c:pt>
                <c:pt idx="17">
                  <c:v>0.6757552308555996</c:v>
                </c:pt>
                <c:pt idx="18">
                  <c:v>0.7625854009349156</c:v>
                </c:pt>
                <c:pt idx="19">
                  <c:v>0.7447381227568587</c:v>
                </c:pt>
                <c:pt idx="20">
                  <c:v>0.985524056975827</c:v>
                </c:pt>
                <c:pt idx="21">
                  <c:v>1.0176461320308805</c:v>
                </c:pt>
                <c:pt idx="22">
                  <c:v>0.5994715817947347</c:v>
                </c:pt>
                <c:pt idx="23">
                  <c:v>0.3693130717940766</c:v>
                </c:pt>
                <c:pt idx="24">
                  <c:v>0.3648789633639264</c:v>
                </c:pt>
                <c:pt idx="25">
                  <c:v>0.3653745738243696</c:v>
                </c:pt>
                <c:pt idx="26">
                  <c:v>0.3797936893203884</c:v>
                </c:pt>
                <c:pt idx="27">
                  <c:v>0.37152125144000486</c:v>
                </c:pt>
                <c:pt idx="28">
                  <c:v>0.36917513919147904</c:v>
                </c:pt>
                <c:pt idx="29">
                  <c:v>0.365457465830227</c:v>
                </c:pt>
                <c:pt idx="30">
                  <c:v>0.24804726772152877</c:v>
                </c:pt>
                <c:pt idx="31">
                  <c:v>0.23373999533763307</c:v>
                </c:pt>
                <c:pt idx="32">
                  <c:v>0.23962743437764608</c:v>
                </c:pt>
                <c:pt idx="33">
                  <c:v>0.24357836035951838</c:v>
                </c:pt>
                <c:pt idx="34">
                  <c:v>0.24497368461908683</c:v>
                </c:pt>
                <c:pt idx="35">
                  <c:v>0.2523013603946087</c:v>
                </c:pt>
                <c:pt idx="36">
                  <c:v>0.2517350936179401</c:v>
                </c:pt>
                <c:pt idx="37">
                  <c:v>0.25806655201249623</c:v>
                </c:pt>
                <c:pt idx="38">
                  <c:v>0.27164879881054854</c:v>
                </c:pt>
                <c:pt idx="39">
                  <c:v>0.3085566518386258</c:v>
                </c:pt>
                <c:pt idx="40">
                  <c:v>0.35721740708807914</c:v>
                </c:pt>
                <c:pt idx="41">
                  <c:v>0.37821103342042073</c:v>
                </c:pt>
                <c:pt idx="42">
                  <c:v>0.41858739437259596</c:v>
                </c:pt>
                <c:pt idx="43">
                  <c:v>0.4384607261920924</c:v>
                </c:pt>
                <c:pt idx="44">
                  <c:v>0.624153989444272</c:v>
                </c:pt>
                <c:pt idx="45">
                  <c:v>0.8912087033037357</c:v>
                </c:pt>
                <c:pt idx="46">
                  <c:v>0.95548175879948</c:v>
                </c:pt>
                <c:pt idx="47">
                  <c:v>1.0536836911715555</c:v>
                </c:pt>
                <c:pt idx="48">
                  <c:v>1.0892482288113357</c:v>
                </c:pt>
                <c:pt idx="49">
                  <c:v>1.002100977198697</c:v>
                </c:pt>
                <c:pt idx="50">
                  <c:v>0.7994462901439646</c:v>
                </c:pt>
                <c:pt idx="51">
                  <c:v>0.7592535667142831</c:v>
                </c:pt>
                <c:pt idx="52">
                  <c:v>0.4415047931382442</c:v>
                </c:pt>
                <c:pt idx="53">
                  <c:v>0.34588793891660385</c:v>
                </c:pt>
                <c:pt idx="54">
                  <c:v>0.2995025034282616</c:v>
                </c:pt>
                <c:pt idx="55">
                  <c:v>0.3585994309200127</c:v>
                </c:pt>
                <c:pt idx="56">
                  <c:v>0.529291585499121</c:v>
                </c:pt>
                <c:pt idx="57">
                  <c:v>0.6946037934836452</c:v>
                </c:pt>
                <c:pt idx="58">
                  <c:v>0.8935800675782359</c:v>
                </c:pt>
                <c:pt idx="59">
                  <c:v>0.9425162342855316</c:v>
                </c:pt>
                <c:pt idx="60">
                  <c:v>1.020502751939232</c:v>
                </c:pt>
                <c:pt idx="61">
                  <c:v>1.06801762990456</c:v>
                </c:pt>
                <c:pt idx="62">
                  <c:v>1.0697348849418147</c:v>
                </c:pt>
                <c:pt idx="63">
                  <c:v>1.1163316847311375</c:v>
                </c:pt>
                <c:pt idx="64">
                  <c:v>1.252513635492359</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096840836704828</c:v>
                </c:pt>
                <c:pt idx="1">
                  <c:v>1.1311763792835832</c:v>
                </c:pt>
                <c:pt idx="2">
                  <c:v>1.280649339435282</c:v>
                </c:pt>
                <c:pt idx="3">
                  <c:v>1.339617094135349</c:v>
                </c:pt>
                <c:pt idx="4">
                  <c:v>1.2973147958835958</c:v>
                </c:pt>
                <c:pt idx="5">
                  <c:v>1.3135369079105554</c:v>
                </c:pt>
                <c:pt idx="6">
                  <c:v>1.2680354690493547</c:v>
                </c:pt>
                <c:pt idx="7">
                  <c:v>1.286096256684492</c:v>
                </c:pt>
                <c:pt idx="8">
                  <c:v>1.3043256217762116</c:v>
                </c:pt>
                <c:pt idx="9">
                  <c:v>1.2904046044154283</c:v>
                </c:pt>
                <c:pt idx="10">
                  <c:v>1.272573623559539</c:v>
                </c:pt>
                <c:pt idx="11">
                  <c:v>1.2750381549940648</c:v>
                </c:pt>
                <c:pt idx="12">
                  <c:v>1.2940014852822035</c:v>
                </c:pt>
                <c:pt idx="13">
                  <c:v>1.2722912105359918</c:v>
                </c:pt>
                <c:pt idx="14">
                  <c:v>1.1755162984213263</c:v>
                </c:pt>
                <c:pt idx="15">
                  <c:v>1.287777151927902</c:v>
                </c:pt>
                <c:pt idx="16">
                  <c:v>1.1907022027503955</c:v>
                </c:pt>
                <c:pt idx="17">
                  <c:v>1.3352680990926415</c:v>
                </c:pt>
                <c:pt idx="18">
                  <c:v>1.3198721271816138</c:v>
                </c:pt>
                <c:pt idx="19">
                  <c:v>1.3207968817669986</c:v>
                </c:pt>
                <c:pt idx="20">
                  <c:v>1.3008358936509843</c:v>
                </c:pt>
                <c:pt idx="21">
                  <c:v>1.3272745978943037</c:v>
                </c:pt>
                <c:pt idx="22">
                  <c:v>1.3349702901083536</c:v>
                </c:pt>
                <c:pt idx="23">
                  <c:v>1.33488649103139</c:v>
                </c:pt>
                <c:pt idx="24">
                  <c:v>1.3176838267210695</c:v>
                </c:pt>
                <c:pt idx="25">
                  <c:v>1.2969551006365045</c:v>
                </c:pt>
                <c:pt idx="26">
                  <c:v>1.3036266087133688</c:v>
                </c:pt>
                <c:pt idx="27">
                  <c:v>1.2825639717759076</c:v>
                </c:pt>
                <c:pt idx="28">
                  <c:v>1.230422872795754</c:v>
                </c:pt>
                <c:pt idx="29">
                  <c:v>1.175528737005616</c:v>
                </c:pt>
                <c:pt idx="30">
                  <c:v>1.1018627723047036</c:v>
                </c:pt>
                <c:pt idx="31">
                  <c:v>1.0165418061385332</c:v>
                </c:pt>
                <c:pt idx="32">
                  <c:v>0.8240284285888481</c:v>
                </c:pt>
                <c:pt idx="33">
                  <c:v>0.3433505270239964</c:v>
                </c:pt>
                <c:pt idx="34">
                  <c:v>0.5411179397131987</c:v>
                </c:pt>
                <c:pt idx="35">
                  <c:v>0.788630334538074</c:v>
                </c:pt>
                <c:pt idx="36">
                  <c:v>0.8678825054311116</c:v>
                </c:pt>
                <c:pt idx="37">
                  <c:v>0.6595775968237045</c:v>
                </c:pt>
                <c:pt idx="38">
                  <c:v>0.8289678858338432</c:v>
                </c:pt>
                <c:pt idx="39">
                  <c:v>0.98029895088664</c:v>
                </c:pt>
                <c:pt idx="40">
                  <c:v>0.692587011383649</c:v>
                </c:pt>
                <c:pt idx="41">
                  <c:v>0.8440192914642364</c:v>
                </c:pt>
                <c:pt idx="42">
                  <c:v>0.995885998389412</c:v>
                </c:pt>
                <c:pt idx="43">
                  <c:v>1.008563819602792</c:v>
                </c:pt>
                <c:pt idx="44">
                  <c:v>0.9991297991576455</c:v>
                </c:pt>
                <c:pt idx="45">
                  <c:v>0.8539553410184137</c:v>
                </c:pt>
                <c:pt idx="46">
                  <c:v>0.8784221569450273</c:v>
                </c:pt>
                <c:pt idx="47">
                  <c:v>0.938656068152471</c:v>
                </c:pt>
                <c:pt idx="48">
                  <c:v>0.9881989894536946</c:v>
                </c:pt>
                <c:pt idx="49">
                  <c:v>0.9908409230979937</c:v>
                </c:pt>
                <c:pt idx="50">
                  <c:v>1.0020982749428133</c:v>
                </c:pt>
                <c:pt idx="51">
                  <c:v>1.0236184007409694</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720192993713352</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720192993713352</c:v>
                </c:pt>
                <c:pt idx="1">
                  <c:v>-12.720192993713352</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9376452097730208</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9376452097730208</c:v>
                </c:pt>
                <c:pt idx="1">
                  <c:v>0.9376452097730208</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9376452097730208</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9376452097730208</c:v>
                </c:pt>
                <c:pt idx="1">
                  <c:v>0.9376452097730208</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096840836704828</c:v>
                </c:pt>
                <c:pt idx="1">
                  <c:v>1.1311763792835832</c:v>
                </c:pt>
                <c:pt idx="2">
                  <c:v>1.280649339435282</c:v>
                </c:pt>
                <c:pt idx="3">
                  <c:v>1.339617094135349</c:v>
                </c:pt>
                <c:pt idx="4">
                  <c:v>1.2973147958835958</c:v>
                </c:pt>
                <c:pt idx="5">
                  <c:v>1.3135369079105554</c:v>
                </c:pt>
                <c:pt idx="6">
                  <c:v>1.2680354690493547</c:v>
                </c:pt>
                <c:pt idx="7">
                  <c:v>1.286096256684492</c:v>
                </c:pt>
                <c:pt idx="8">
                  <c:v>1.3043256217762116</c:v>
                </c:pt>
                <c:pt idx="9">
                  <c:v>1.2904046044154283</c:v>
                </c:pt>
                <c:pt idx="10">
                  <c:v>1.272573623559539</c:v>
                </c:pt>
                <c:pt idx="11">
                  <c:v>1.2750381549940648</c:v>
                </c:pt>
                <c:pt idx="12">
                  <c:v>1.2940014852822035</c:v>
                </c:pt>
                <c:pt idx="13">
                  <c:v>1.2722912105359918</c:v>
                </c:pt>
                <c:pt idx="14">
                  <c:v>1.1755162984213263</c:v>
                </c:pt>
                <c:pt idx="15">
                  <c:v>1.287777151927902</c:v>
                </c:pt>
                <c:pt idx="16">
                  <c:v>1.1907022027503955</c:v>
                </c:pt>
                <c:pt idx="17">
                  <c:v>1.3352680990926415</c:v>
                </c:pt>
                <c:pt idx="18">
                  <c:v>1.3198721271816138</c:v>
                </c:pt>
                <c:pt idx="19">
                  <c:v>1.3207968817669986</c:v>
                </c:pt>
                <c:pt idx="20">
                  <c:v>1.3008358936509843</c:v>
                </c:pt>
                <c:pt idx="21">
                  <c:v>1.3272745978943037</c:v>
                </c:pt>
                <c:pt idx="22">
                  <c:v>1.3349702901083536</c:v>
                </c:pt>
                <c:pt idx="23">
                  <c:v>1.33488649103139</c:v>
                </c:pt>
                <c:pt idx="24">
                  <c:v>1.3176838267210695</c:v>
                </c:pt>
                <c:pt idx="25">
                  <c:v>1.2969551006365045</c:v>
                </c:pt>
                <c:pt idx="26">
                  <c:v>1.3036266087133688</c:v>
                </c:pt>
                <c:pt idx="27">
                  <c:v>1.2825639717759076</c:v>
                </c:pt>
                <c:pt idx="28">
                  <c:v>1.230422872795754</c:v>
                </c:pt>
                <c:pt idx="29">
                  <c:v>1.175528737005616</c:v>
                </c:pt>
                <c:pt idx="30">
                  <c:v>1.1018627723047036</c:v>
                </c:pt>
                <c:pt idx="31">
                  <c:v>1.0165418061385332</c:v>
                </c:pt>
                <c:pt idx="32">
                  <c:v>0.8240284285888481</c:v>
                </c:pt>
                <c:pt idx="33">
                  <c:v>0.3433505270239964</c:v>
                </c:pt>
                <c:pt idx="34">
                  <c:v>0.5411179397131987</c:v>
                </c:pt>
                <c:pt idx="35">
                  <c:v>0.788630334538074</c:v>
                </c:pt>
                <c:pt idx="36">
                  <c:v>0.8678825054311116</c:v>
                </c:pt>
                <c:pt idx="37">
                  <c:v>0.6595775968237045</c:v>
                </c:pt>
                <c:pt idx="38">
                  <c:v>0.8289678858338432</c:v>
                </c:pt>
                <c:pt idx="39">
                  <c:v>0.98029895088664</c:v>
                </c:pt>
                <c:pt idx="40">
                  <c:v>0.692587011383649</c:v>
                </c:pt>
                <c:pt idx="41">
                  <c:v>0.8440192914642364</c:v>
                </c:pt>
                <c:pt idx="42">
                  <c:v>0.995885998389412</c:v>
                </c:pt>
                <c:pt idx="43">
                  <c:v>1.008563819602792</c:v>
                </c:pt>
                <c:pt idx="44">
                  <c:v>0.9991297991576455</c:v>
                </c:pt>
                <c:pt idx="45">
                  <c:v>0.8539553410184137</c:v>
                </c:pt>
                <c:pt idx="46">
                  <c:v>0.8784221569450273</c:v>
                </c:pt>
                <c:pt idx="47">
                  <c:v>0.938656068152471</c:v>
                </c:pt>
                <c:pt idx="48">
                  <c:v>0.9881989894536946</c:v>
                </c:pt>
                <c:pt idx="49">
                  <c:v>0.9908409230979937</c:v>
                </c:pt>
                <c:pt idx="50">
                  <c:v>1.0020982749428133</c:v>
                </c:pt>
                <c:pt idx="51">
                  <c:v>1.0236184007409694</c:v>
                </c:pt>
                <c:pt idx="52">
                  <c:v>0.9376452097730208</c:v>
                </c:pt>
                <c:pt idx="53">
                  <c:v>-12.720192993713352</c:v>
                </c:pt>
                <c:pt idx="54">
                  <c:v>0.9376452097730208</c:v>
                </c:pt>
              </c:numCache>
            </c:numRef>
          </c:xVal>
          <c:yVal>
            <c:numRef>
              <c:f>Sheet1!$B$147:$B$201</c:f>
              <c:numCache>
                <c:formatCode>General</c:formatCode>
                <c:ptCount val="55"/>
                <c:pt idx="0">
                  <c:v>0.0008796024037553904</c:v>
                </c:pt>
                <c:pt idx="1">
                  <c:v>0.0017952138877323992</c:v>
                </c:pt>
                <c:pt idx="2">
                  <c:v>0.001028529002455385</c:v>
                </c:pt>
                <c:pt idx="3">
                  <c:v>0.0007260683687636401</c:v>
                </c:pt>
                <c:pt idx="4">
                  <c:v>0.0009430476314288326</c:v>
                </c:pt>
                <c:pt idx="5">
                  <c:v>0.0008598402868648528</c:v>
                </c:pt>
                <c:pt idx="6">
                  <c:v>0.0010932287565775956</c:v>
                </c:pt>
                <c:pt idx="7">
                  <c:v>0.0010005903764852718</c:v>
                </c:pt>
                <c:pt idx="8">
                  <c:v>0.0009070873196793221</c:v>
                </c:pt>
                <c:pt idx="9">
                  <c:v>0.0009784917635824834</c:v>
                </c:pt>
                <c:pt idx="10">
                  <c:v>0.0010699514061693416</c:v>
                </c:pt>
                <c:pt idx="11">
                  <c:v>0.0010573101966942413</c:v>
                </c:pt>
                <c:pt idx="12">
                  <c:v>0.0009600424454456113</c:v>
                </c:pt>
                <c:pt idx="13">
                  <c:v>0.0010713999745012946</c:v>
                </c:pt>
                <c:pt idx="14">
                  <c:v>0.0015677831485350771</c:v>
                </c:pt>
                <c:pt idx="15">
                  <c:v>0.0009919686366364824</c:v>
                </c:pt>
                <c:pt idx="16">
                  <c:v>0.0014898907771888226</c:v>
                </c:pt>
                <c:pt idx="17">
                  <c:v>0.0007483754720818882</c:v>
                </c:pt>
                <c:pt idx="18">
                  <c:v>0.0008273453335628867</c:v>
                </c:pt>
                <c:pt idx="19">
                  <c:v>0.0008226020317477246</c:v>
                </c:pt>
                <c:pt idx="20">
                  <c:v>0.0009249870241116323</c:v>
                </c:pt>
                <c:pt idx="21">
                  <c:v>0.0007893761757743123</c:v>
                </c:pt>
                <c:pt idx="22">
                  <c:v>0.0007499030102180275</c:v>
                </c:pt>
                <c:pt idx="23">
                  <c:v>0.0007503328370284616</c:v>
                </c:pt>
                <c:pt idx="24">
                  <c:v>0.0008385696840129027</c:v>
                </c:pt>
                <c:pt idx="25">
                  <c:v>0.0009448925999701058</c:v>
                </c:pt>
                <c:pt idx="26">
                  <c:v>0.0009106727357261367</c:v>
                </c:pt>
                <c:pt idx="27">
                  <c:v>0.0010187083654991727</c:v>
                </c:pt>
                <c:pt idx="28">
                  <c:v>0.0012861533431676783</c:v>
                </c:pt>
                <c:pt idx="29">
                  <c:v>0.00156771934786799</c:v>
                </c:pt>
                <c:pt idx="30">
                  <c:v>0.0019455708444746003</c:v>
                </c:pt>
                <c:pt idx="31">
                  <c:v>0.00238320381227323</c:v>
                </c:pt>
                <c:pt idx="32">
                  <c:v>0.0033706539613247754</c:v>
                </c:pt>
                <c:pt idx="33">
                  <c:v>0.005836173353209619</c:v>
                </c:pt>
                <c:pt idx="34">
                  <c:v>0.004821773919658094</c:v>
                </c:pt>
                <c:pt idx="35">
                  <c:v>0.00355221980205476</c:v>
                </c:pt>
                <c:pt idx="36">
                  <c:v>0.0031457152310111645</c:v>
                </c:pt>
                <c:pt idx="37">
                  <c:v>0.004214164165161035</c:v>
                </c:pt>
                <c:pt idx="38">
                  <c:v>0.0033453182269727808</c:v>
                </c:pt>
                <c:pt idx="39">
                  <c:v>0.002569102648375148</c:v>
                </c:pt>
                <c:pt idx="40">
                  <c:v>0.0040448504699664815</c:v>
                </c:pt>
                <c:pt idx="41">
                  <c:v>0.0032681157337105587</c:v>
                </c:pt>
                <c:pt idx="42">
                  <c:v>0.0024891527115147158</c:v>
                </c:pt>
                <c:pt idx="43">
                  <c:v>0.0024241249373094147</c:v>
                </c:pt>
                <c:pt idx="44">
                  <c:v>0.0024725144311372443</c:v>
                </c:pt>
                <c:pt idx="45">
                  <c:v>0.0032171512047093273</c:v>
                </c:pt>
                <c:pt idx="46">
                  <c:v>0.0030916546738133585</c:v>
                </c:pt>
                <c:pt idx="47">
                  <c:v>0.002782699600889155</c:v>
                </c:pt>
                <c:pt idx="48">
                  <c:v>0.002528581338324693</c:v>
                </c:pt>
                <c:pt idx="49">
                  <c:v>0.0025150301877290724</c:v>
                </c:pt>
                <c:pt idx="50">
                  <c:v>0.002457288362726683</c:v>
                </c:pt>
                <c:pt idx="51">
                  <c:v>0.0023469061560589255</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9.2525</c:v>
                </c:pt>
                <c:pt idx="1">
                  <c:v>9.2478</c:v>
                </c:pt>
                <c:pt idx="2">
                  <c:v>9.229</c:v>
                </c:pt>
                <c:pt idx="3">
                  <c:v>9.3326</c:v>
                </c:pt>
                <c:pt idx="4">
                  <c:v>9.1816</c:v>
                </c:pt>
                <c:pt idx="5">
                  <c:v>9.2859</c:v>
                </c:pt>
                <c:pt idx="6">
                  <c:v>9.0231</c:v>
                </c:pt>
                <c:pt idx="7">
                  <c:v>8.8095</c:v>
                </c:pt>
                <c:pt idx="8">
                  <c:v>8.6688</c:v>
                </c:pt>
                <c:pt idx="9">
                  <c:v>8.6894</c:v>
                </c:pt>
                <c:pt idx="10">
                  <c:v>8.7152</c:v>
                </c:pt>
                <c:pt idx="11">
                  <c:v>6.2484</c:v>
                </c:pt>
                <c:pt idx="12">
                  <c:v>6.059</c:v>
                </c:pt>
                <c:pt idx="13">
                  <c:v>6.1755</c:v>
                </c:pt>
                <c:pt idx="14">
                  <c:v>5.9204</c:v>
                </c:pt>
                <c:pt idx="15">
                  <c:v>4.6239</c:v>
                </c:pt>
                <c:pt idx="16">
                  <c:v>4.4785</c:v>
                </c:pt>
                <c:pt idx="17">
                  <c:v>4.4537</c:v>
                </c:pt>
                <c:pt idx="18">
                  <c:v>5.0898</c:v>
                </c:pt>
                <c:pt idx="19">
                  <c:v>4.8971</c:v>
                </c:pt>
                <c:pt idx="20">
                  <c:v>6.3723</c:v>
                </c:pt>
                <c:pt idx="21">
                  <c:v>6.459</c:v>
                </c:pt>
                <c:pt idx="22">
                  <c:v>3.8118</c:v>
                </c:pt>
                <c:pt idx="23">
                  <c:v>2.3817</c:v>
                </c:pt>
                <c:pt idx="24">
                  <c:v>2.4132</c:v>
                </c:pt>
                <c:pt idx="25">
                  <c:v>2.3791</c:v>
                </c:pt>
                <c:pt idx="26">
                  <c:v>2.5036</c:v>
                </c:pt>
                <c:pt idx="27">
                  <c:v>2.451</c:v>
                </c:pt>
                <c:pt idx="28">
                  <c:v>2.4401</c:v>
                </c:pt>
                <c:pt idx="29">
                  <c:v>2.4118</c:v>
                </c:pt>
                <c:pt idx="30">
                  <c:v>1.6037</c:v>
                </c:pt>
                <c:pt idx="31">
                  <c:v>1.504</c:v>
                </c:pt>
                <c:pt idx="32">
                  <c:v>1.5282</c:v>
                </c:pt>
                <c:pt idx="33">
                  <c:v>1.5637</c:v>
                </c:pt>
                <c:pt idx="34">
                  <c:v>1.5779</c:v>
                </c:pt>
                <c:pt idx="35">
                  <c:v>1.6061</c:v>
                </c:pt>
                <c:pt idx="36">
                  <c:v>1.6322</c:v>
                </c:pt>
                <c:pt idx="37">
                  <c:v>1.6356</c:v>
                </c:pt>
                <c:pt idx="38">
                  <c:v>1.7357</c:v>
                </c:pt>
                <c:pt idx="39">
                  <c:v>2.0046</c:v>
                </c:pt>
                <c:pt idx="40">
                  <c:v>2.3616</c:v>
                </c:pt>
                <c:pt idx="41">
                  <c:v>2.5044</c:v>
                </c:pt>
                <c:pt idx="42">
                  <c:v>2.7641</c:v>
                </c:pt>
                <c:pt idx="43">
                  <c:v>2.9066</c:v>
                </c:pt>
                <c:pt idx="44">
                  <c:v>4.0208</c:v>
                </c:pt>
                <c:pt idx="45">
                  <c:v>5.5705</c:v>
                </c:pt>
                <c:pt idx="46">
                  <c:v>6.0997</c:v>
                </c:pt>
                <c:pt idx="47">
                  <c:v>6.6204</c:v>
                </c:pt>
                <c:pt idx="48">
                  <c:v>6.6418</c:v>
                </c:pt>
                <c:pt idx="49">
                  <c:v>6.1529</c:v>
                </c:pt>
                <c:pt idx="50">
                  <c:v>5.0533</c:v>
                </c:pt>
                <c:pt idx="51">
                  <c:v>4.1989</c:v>
                </c:pt>
                <c:pt idx="52">
                  <c:v>2.8002</c:v>
                </c:pt>
                <c:pt idx="53">
                  <c:v>2.1563</c:v>
                </c:pt>
                <c:pt idx="54">
                  <c:v>1.8783</c:v>
                </c:pt>
                <c:pt idx="55">
                  <c:v>2.2685</c:v>
                </c:pt>
                <c:pt idx="56">
                  <c:v>3.342</c:v>
                </c:pt>
                <c:pt idx="57">
                  <c:v>4.3469</c:v>
                </c:pt>
                <c:pt idx="58">
                  <c:v>5.6594</c:v>
                </c:pt>
                <c:pt idx="59">
                  <c:v>5.8928</c:v>
                </c:pt>
                <c:pt idx="60">
                  <c:v>6.3412</c:v>
                </c:pt>
                <c:pt idx="61">
                  <c:v>6.4457</c:v>
                </c:pt>
                <c:pt idx="62">
                  <c:v>6.113</c:v>
                </c:pt>
                <c:pt idx="63">
                  <c:v>6.3651</c:v>
                </c:pt>
                <c:pt idx="64">
                  <c:v>7.1878</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79.7691355918984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79.76913559189848</c:v>
                </c:pt>
                <c:pt idx="1">
                  <c:v>-79.7691355918984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5.35211938721581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5.352119387215814</c:v>
                </c:pt>
                <c:pt idx="1">
                  <c:v>5.35211938721581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5.35211938721581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5.352119387215814</c:v>
                </c:pt>
                <c:pt idx="1">
                  <c:v>5.35211938721581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pt idx="52">
                  <c:v>5.352119387215814</c:v>
                </c:pt>
                <c:pt idx="53">
                  <c:v>-79.76913559189848</c:v>
                </c:pt>
                <c:pt idx="54">
                  <c:v>5.352119387215814</c:v>
                </c:pt>
              </c:numCache>
            </c:numRef>
          </c:xVal>
          <c:yVal>
            <c:numRef>
              <c:f>Sheet1!$B$147:$B$201</c:f>
              <c:numCache>
                <c:formatCode>General</c:formatCode>
                <c:ptCount val="55"/>
                <c:pt idx="0">
                  <c:v>0.0009318778447893541</c:v>
                </c:pt>
                <c:pt idx="1">
                  <c:v>0.0017947078193626832</c:v>
                </c:pt>
                <c:pt idx="2">
                  <c:v>0.001089646355019903</c:v>
                </c:pt>
                <c:pt idx="3">
                  <c:v>0.0008178927708877839</c:v>
                </c:pt>
                <c:pt idx="4">
                  <c:v>0.0009261991660173621</c:v>
                </c:pt>
                <c:pt idx="5">
                  <c:v>0.0008982172706191432</c:v>
                </c:pt>
                <c:pt idx="6">
                  <c:v>0.0010374683500714585</c:v>
                </c:pt>
                <c:pt idx="7">
                  <c:v>0.000977636473734677</c:v>
                </c:pt>
                <c:pt idx="8">
                  <c:v>0.00088685991307516</c:v>
                </c:pt>
                <c:pt idx="9">
                  <c:v>0.0010112970479048888</c:v>
                </c:pt>
                <c:pt idx="10">
                  <c:v>0.0010579609734660362</c:v>
                </c:pt>
                <c:pt idx="11">
                  <c:v>0.0010046307728247246</c:v>
                </c:pt>
                <c:pt idx="12">
                  <c:v>0.0008829918275348181</c:v>
                </c:pt>
                <c:pt idx="13">
                  <c:v>0.0009275982607872737</c:v>
                </c:pt>
                <c:pt idx="14">
                  <c:v>0.0014260051976449691</c:v>
                </c:pt>
                <c:pt idx="15">
                  <c:v>0.0009833974521990174</c:v>
                </c:pt>
                <c:pt idx="16">
                  <c:v>0.00155612101124669</c:v>
                </c:pt>
                <c:pt idx="17">
                  <c:v>0.000906941038008</c:v>
                </c:pt>
                <c:pt idx="18">
                  <c:v>0.0009065295395462615</c:v>
                </c:pt>
                <c:pt idx="19">
                  <c:v>0.0009178868970902447</c:v>
                </c:pt>
                <c:pt idx="20">
                  <c:v>0.00095533325710845</c:v>
                </c:pt>
                <c:pt idx="21">
                  <c:v>0.0008223369542745603</c:v>
                </c:pt>
                <c:pt idx="22">
                  <c:v>0.0009060357413921754</c:v>
                </c:pt>
                <c:pt idx="23">
                  <c:v>0.0009209319857071095</c:v>
                </c:pt>
                <c:pt idx="24">
                  <c:v>0.0009467740891042882</c:v>
                </c:pt>
                <c:pt idx="25">
                  <c:v>0.0009879239352781405</c:v>
                </c:pt>
                <c:pt idx="26">
                  <c:v>0.0008736096626071801</c:v>
                </c:pt>
                <c:pt idx="27">
                  <c:v>0.000984467348199537</c:v>
                </c:pt>
                <c:pt idx="28">
                  <c:v>0.0012778657514191027</c:v>
                </c:pt>
                <c:pt idx="29">
                  <c:v>0.0015250117275392577</c:v>
                </c:pt>
                <c:pt idx="30">
                  <c:v>0.0019642451855989536</c:v>
                </c:pt>
                <c:pt idx="31">
                  <c:v>0.0024689068990750756</c:v>
                </c:pt>
                <c:pt idx="32">
                  <c:v>0.0032994753942481043</c:v>
                </c:pt>
                <c:pt idx="33">
                  <c:v>0.005554651563959892</c:v>
                </c:pt>
                <c:pt idx="34">
                  <c:v>0.004605736111190863</c:v>
                </c:pt>
                <c:pt idx="35">
                  <c:v>0.0035471974682146938</c:v>
                </c:pt>
                <c:pt idx="36">
                  <c:v>0.0032801349665463947</c:v>
                </c:pt>
                <c:pt idx="37">
                  <c:v>0.00423950248024358</c:v>
                </c:pt>
                <c:pt idx="38">
                  <c:v>0.0037362398615373702</c:v>
                </c:pt>
                <c:pt idx="39">
                  <c:v>0.002847732382951557</c:v>
                </c:pt>
                <c:pt idx="40">
                  <c:v>0.004053175976768378</c:v>
                </c:pt>
                <c:pt idx="41">
                  <c:v>0.0032751146853131838</c:v>
                </c:pt>
                <c:pt idx="42">
                  <c:v>0.002510879742172404</c:v>
                </c:pt>
                <c:pt idx="43">
                  <c:v>0.002423971267053229</c:v>
                </c:pt>
                <c:pt idx="44">
                  <c:v>0.00246800160245925</c:v>
                </c:pt>
                <c:pt idx="45">
                  <c:v>0.0030286271067318108</c:v>
                </c:pt>
                <c:pt idx="46">
                  <c:v>0.002885754840816196</c:v>
                </c:pt>
                <c:pt idx="47">
                  <c:v>0.0025861016609782057</c:v>
                </c:pt>
                <c:pt idx="48">
                  <c:v>0.0023960716713473575</c:v>
                </c:pt>
                <c:pt idx="49">
                  <c:v>0.0024294030467481775</c:v>
                </c:pt>
                <c:pt idx="50">
                  <c:v>0.0023974707661172682</c:v>
                </c:pt>
                <c:pt idx="51">
                  <c:v>0.0022810990011376143</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042314144446406</c:v>
                </c:pt>
                <c:pt idx="1">
                  <c:v>1.9339174804993828</c:v>
                </c:pt>
                <c:pt idx="2">
                  <c:v>1.889020795808089</c:v>
                </c:pt>
                <c:pt idx="3">
                  <c:v>1.8860214619162137</c:v>
                </c:pt>
                <c:pt idx="4">
                  <c:v>1.8538574918731197</c:v>
                </c:pt>
                <c:pt idx="5">
                  <c:v>1.8839700541703017</c:v>
                </c:pt>
                <c:pt idx="6">
                  <c:v>1.8282038293992502</c:v>
                </c:pt>
                <c:pt idx="7">
                  <c:v>1.7924797037459053</c:v>
                </c:pt>
                <c:pt idx="8">
                  <c:v>1.7667631353686868</c:v>
                </c:pt>
                <c:pt idx="9">
                  <c:v>1.7533091202582725</c:v>
                </c:pt>
                <c:pt idx="10">
                  <c:v>1.7567071818749873</c:v>
                </c:pt>
                <c:pt idx="11">
                  <c:v>1.2530381422211527</c:v>
                </c:pt>
                <c:pt idx="12">
                  <c:v>1.2214248276418174</c:v>
                </c:pt>
                <c:pt idx="13">
                  <c:v>1.2368067933748574</c:v>
                </c:pt>
                <c:pt idx="14">
                  <c:v>1.1863578069894196</c:v>
                </c:pt>
                <c:pt idx="15">
                  <c:v>0.9320499899213868</c:v>
                </c:pt>
                <c:pt idx="16">
                  <c:v>0.8971893342949296</c:v>
                </c:pt>
                <c:pt idx="17">
                  <c:v>0.8950541610562913</c:v>
                </c:pt>
                <c:pt idx="18">
                  <c:v>1.023898611949306</c:v>
                </c:pt>
                <c:pt idx="19">
                  <c:v>0.9863838701230689</c:v>
                </c:pt>
                <c:pt idx="20">
                  <c:v>1.2794498544322859</c:v>
                </c:pt>
                <c:pt idx="21">
                  <c:v>1.2962591314120573</c:v>
                </c:pt>
                <c:pt idx="22">
                  <c:v>0.7643473029877682</c:v>
                </c:pt>
                <c:pt idx="23">
                  <c:v>0.4778979473082248</c:v>
                </c:pt>
                <c:pt idx="24">
                  <c:v>0.4817728089439009</c:v>
                </c:pt>
                <c:pt idx="25">
                  <c:v>0.47454821079506926</c:v>
                </c:pt>
                <c:pt idx="26">
                  <c:v>0.5000798977309044</c:v>
                </c:pt>
                <c:pt idx="27">
                  <c:v>0.487877702137824</c:v>
                </c:pt>
                <c:pt idx="28">
                  <c:v>0.4855727135238399</c:v>
                </c:pt>
                <c:pt idx="29">
                  <c:v>0.48350106250751773</c:v>
                </c:pt>
                <c:pt idx="30">
                  <c:v>0.31995929930968436</c:v>
                </c:pt>
                <c:pt idx="31">
                  <c:v>0.2989643588367424</c:v>
                </c:pt>
                <c:pt idx="32">
                  <c:v>0.30360584086619646</c:v>
                </c:pt>
                <c:pt idx="33">
                  <c:v>0.3114257831949175</c:v>
                </c:pt>
                <c:pt idx="34">
                  <c:v>0.3148495490462128</c:v>
                </c:pt>
                <c:pt idx="35">
                  <c:v>0.3219540552459608</c:v>
                </c:pt>
                <c:pt idx="36">
                  <c:v>0.32695004206562234</c:v>
                </c:pt>
                <c:pt idx="37">
                  <c:v>0.3285920925747348</c:v>
                </c:pt>
                <c:pt idx="38">
                  <c:v>0.34995362716238554</c:v>
                </c:pt>
                <c:pt idx="39">
                  <c:v>0.4041939711664482</c:v>
                </c:pt>
                <c:pt idx="40">
                  <c:v>0.4721500259906434</c:v>
                </c:pt>
                <c:pt idx="41">
                  <c:v>0.49876523540189593</c:v>
                </c:pt>
                <c:pt idx="42">
                  <c:v>0.5491734880394182</c:v>
                </c:pt>
                <c:pt idx="43">
                  <c:v>0.5726839263900382</c:v>
                </c:pt>
                <c:pt idx="44">
                  <c:v>0.784638201545547</c:v>
                </c:pt>
                <c:pt idx="45">
                  <c:v>1.073458848014183</c:v>
                </c:pt>
                <c:pt idx="46">
                  <c:v>1.1692416807238155</c:v>
                </c:pt>
                <c:pt idx="47">
                  <c:v>1.2774776165483173</c:v>
                </c:pt>
                <c:pt idx="48">
                  <c:v>1.3733793759434254</c:v>
                </c:pt>
                <c:pt idx="49">
                  <c:v>1.1801407829372614</c:v>
                </c:pt>
                <c:pt idx="50">
                  <c:v>0.9607582181493242</c:v>
                </c:pt>
                <c:pt idx="51">
                  <c:v>0.8453253341923015</c:v>
                </c:pt>
                <c:pt idx="52">
                  <c:v>0.5797995693225111</c:v>
                </c:pt>
                <c:pt idx="53">
                  <c:v>0.46379024799432167</c:v>
                </c:pt>
                <c:pt idx="54">
                  <c:v>0.40750222376499684</c:v>
                </c:pt>
                <c:pt idx="55">
                  <c:v>0.4930664232307425</c:v>
                </c:pt>
                <c:pt idx="56">
                  <c:v>0.7221730017071115</c:v>
                </c:pt>
                <c:pt idx="57">
                  <c:v>0.9407856292609025</c:v>
                </c:pt>
                <c:pt idx="58">
                  <c:v>1.22177845901427</c:v>
                </c:pt>
                <c:pt idx="59">
                  <c:v>1.2924791086350975</c:v>
                </c:pt>
                <c:pt idx="60">
                  <c:v>1.3981567226705471</c:v>
                </c:pt>
                <c:pt idx="61">
                  <c:v>1.426450085201496</c:v>
                </c:pt>
                <c:pt idx="62">
                  <c:v>1.3610455537248967</c:v>
                </c:pt>
                <c:pt idx="63">
                  <c:v>1.412583222370173</c:v>
                </c:pt>
                <c:pt idx="64">
                  <c:v>1.5863956388355516</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6860898089454321</c:v>
                </c:pt>
                <c:pt idx="1">
                  <c:v>1.5217159296552365</c:v>
                </c:pt>
                <c:pt idx="2">
                  <c:v>1.691476015601834</c:v>
                </c:pt>
                <c:pt idx="3">
                  <c:v>1.7726159690596608</c:v>
                </c:pt>
                <c:pt idx="4">
                  <c:v>1.7428584508331808</c:v>
                </c:pt>
                <c:pt idx="5">
                  <c:v>1.7478004524783475</c:v>
                </c:pt>
                <c:pt idx="6">
                  <c:v>1.7016677663761917</c:v>
                </c:pt>
                <c:pt idx="7">
                  <c:v>1.7373010030367166</c:v>
                </c:pt>
                <c:pt idx="8">
                  <c:v>1.782357867311808</c:v>
                </c:pt>
                <c:pt idx="9">
                  <c:v>1.7474291563910476</c:v>
                </c:pt>
                <c:pt idx="10">
                  <c:v>1.77263323107655</c:v>
                </c:pt>
                <c:pt idx="11">
                  <c:v>1.7033051672971933</c:v>
                </c:pt>
                <c:pt idx="12">
                  <c:v>1.7375351282748617</c:v>
                </c:pt>
                <c:pt idx="13">
                  <c:v>1.7282675324085635</c:v>
                </c:pt>
                <c:pt idx="14">
                  <c:v>1.6078246902248738</c:v>
                </c:pt>
                <c:pt idx="15">
                  <c:v>1.7340948791026938</c:v>
                </c:pt>
                <c:pt idx="16">
                  <c:v>1.573930229351473</c:v>
                </c:pt>
                <c:pt idx="17">
                  <c:v>1.7415574050849387</c:v>
                </c:pt>
                <c:pt idx="18">
                  <c:v>1.7399653742767323</c:v>
                </c:pt>
                <c:pt idx="19">
                  <c:v>1.7420998514794928</c:v>
                </c:pt>
                <c:pt idx="20">
                  <c:v>1.7332083152285773</c:v>
                </c:pt>
                <c:pt idx="21">
                  <c:v>1.7631890660592258</c:v>
                </c:pt>
                <c:pt idx="22">
                  <c:v>1.7439954337899544</c:v>
                </c:pt>
                <c:pt idx="23">
                  <c:v>1.7420106981209709</c:v>
                </c:pt>
                <c:pt idx="24">
                  <c:v>1.7345949899433166</c:v>
                </c:pt>
                <c:pt idx="25">
                  <c:v>1.725888789689353</c:v>
                </c:pt>
                <c:pt idx="26">
                  <c:v>1.7726601098951837</c:v>
                </c:pt>
                <c:pt idx="27">
                  <c:v>1.7752935915841002</c:v>
                </c:pt>
                <c:pt idx="28">
                  <c:v>1.7247594134728454</c:v>
                </c:pt>
                <c:pt idx="29">
                  <c:v>1.6455436081242534</c:v>
                </c:pt>
                <c:pt idx="30">
                  <c:v>1.518561013505438</c:v>
                </c:pt>
                <c:pt idx="31">
                  <c:v>1.3670834821960223</c:v>
                </c:pt>
                <c:pt idx="32">
                  <c:v>1.0983028023496089</c:v>
                </c:pt>
                <c:pt idx="33">
                  <c:v>0.4571408884193119</c:v>
                </c:pt>
                <c:pt idx="34">
                  <c:v>0.7167483753277847</c:v>
                </c:pt>
                <c:pt idx="35">
                  <c:v>1.0113475501164435</c:v>
                </c:pt>
                <c:pt idx="36">
                  <c:v>1.0825458271661164</c:v>
                </c:pt>
                <c:pt idx="37">
                  <c:v>0.8113002780980804</c:v>
                </c:pt>
                <c:pt idx="38">
                  <c:v>0.9345973251440907</c:v>
                </c:pt>
                <c:pt idx="39">
                  <c:v>1.1980937251787132</c:v>
                </c:pt>
                <c:pt idx="40">
                  <c:v>0.8664849517319706</c:v>
                </c:pt>
                <c:pt idx="41">
                  <c:v>1.0924927130430793</c:v>
                </c:pt>
                <c:pt idx="42">
                  <c:v>1.3116065664483998</c:v>
                </c:pt>
                <c:pt idx="43">
                  <c:v>1.3420497973364216</c:v>
                </c:pt>
                <c:pt idx="44">
                  <c:v>1.337028669911731</c:v>
                </c:pt>
                <c:pt idx="45">
                  <c:v>1.1715833835039133</c:v>
                </c:pt>
                <c:pt idx="46">
                  <c:v>1.2250860313224243</c:v>
                </c:pt>
                <c:pt idx="47">
                  <c:v>1.3180662176800264</c:v>
                </c:pt>
                <c:pt idx="48">
                  <c:v>1.418709379031669</c:v>
                </c:pt>
                <c:pt idx="49">
                  <c:v>1.4248049038674577</c:v>
                </c:pt>
                <c:pt idx="50">
                  <c:v>1.4561517506810289</c:v>
                </c:pt>
                <c:pt idx="51">
                  <c:v>1.4860678801762992</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8.379151178729124</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8.379151178729124</c:v>
                </c:pt>
                <c:pt idx="1">
                  <c:v>-18.379151178729124</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396858902100378</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396858902100378</c:v>
                </c:pt>
                <c:pt idx="1">
                  <c:v>1.2396858902100378</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396858902100378</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396858902100378</c:v>
                </c:pt>
                <c:pt idx="1">
                  <c:v>1.2396858902100378</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6860898089454321</c:v>
                </c:pt>
                <c:pt idx="1">
                  <c:v>1.5217159296552365</c:v>
                </c:pt>
                <c:pt idx="2">
                  <c:v>1.691476015601834</c:v>
                </c:pt>
                <c:pt idx="3">
                  <c:v>1.7726159690596608</c:v>
                </c:pt>
                <c:pt idx="4">
                  <c:v>1.7428584508331808</c:v>
                </c:pt>
                <c:pt idx="5">
                  <c:v>1.7478004524783475</c:v>
                </c:pt>
                <c:pt idx="6">
                  <c:v>1.7016677663761917</c:v>
                </c:pt>
                <c:pt idx="7">
                  <c:v>1.7373010030367166</c:v>
                </c:pt>
                <c:pt idx="8">
                  <c:v>1.782357867311808</c:v>
                </c:pt>
                <c:pt idx="9">
                  <c:v>1.7474291563910476</c:v>
                </c:pt>
                <c:pt idx="10">
                  <c:v>1.77263323107655</c:v>
                </c:pt>
                <c:pt idx="11">
                  <c:v>1.7033051672971933</c:v>
                </c:pt>
                <c:pt idx="12">
                  <c:v>1.7375351282748617</c:v>
                </c:pt>
                <c:pt idx="13">
                  <c:v>1.7282675324085635</c:v>
                </c:pt>
                <c:pt idx="14">
                  <c:v>1.6078246902248738</c:v>
                </c:pt>
                <c:pt idx="15">
                  <c:v>1.7340948791026938</c:v>
                </c:pt>
                <c:pt idx="16">
                  <c:v>1.573930229351473</c:v>
                </c:pt>
                <c:pt idx="17">
                  <c:v>1.7415574050849387</c:v>
                </c:pt>
                <c:pt idx="18">
                  <c:v>1.7399653742767323</c:v>
                </c:pt>
                <c:pt idx="19">
                  <c:v>1.7420998514794928</c:v>
                </c:pt>
                <c:pt idx="20">
                  <c:v>1.7332083152285773</c:v>
                </c:pt>
                <c:pt idx="21">
                  <c:v>1.7631890660592258</c:v>
                </c:pt>
                <c:pt idx="22">
                  <c:v>1.7439954337899544</c:v>
                </c:pt>
                <c:pt idx="23">
                  <c:v>1.7420106981209709</c:v>
                </c:pt>
                <c:pt idx="24">
                  <c:v>1.7345949899433166</c:v>
                </c:pt>
                <c:pt idx="25">
                  <c:v>1.725888789689353</c:v>
                </c:pt>
                <c:pt idx="26">
                  <c:v>1.7726601098951837</c:v>
                </c:pt>
                <c:pt idx="27">
                  <c:v>1.7752935915841002</c:v>
                </c:pt>
                <c:pt idx="28">
                  <c:v>1.7247594134728454</c:v>
                </c:pt>
                <c:pt idx="29">
                  <c:v>1.6455436081242534</c:v>
                </c:pt>
                <c:pt idx="30">
                  <c:v>1.518561013505438</c:v>
                </c:pt>
                <c:pt idx="31">
                  <c:v>1.3670834821960223</c:v>
                </c:pt>
                <c:pt idx="32">
                  <c:v>1.0983028023496089</c:v>
                </c:pt>
                <c:pt idx="33">
                  <c:v>0.4571408884193119</c:v>
                </c:pt>
                <c:pt idx="34">
                  <c:v>0.7167483753277847</c:v>
                </c:pt>
                <c:pt idx="35">
                  <c:v>1.0113475501164435</c:v>
                </c:pt>
                <c:pt idx="36">
                  <c:v>1.0825458271661164</c:v>
                </c:pt>
                <c:pt idx="37">
                  <c:v>0.8113002780980804</c:v>
                </c:pt>
                <c:pt idx="38">
                  <c:v>0.9345973251440907</c:v>
                </c:pt>
                <c:pt idx="39">
                  <c:v>1.1980937251787132</c:v>
                </c:pt>
                <c:pt idx="40">
                  <c:v>0.8664849517319706</c:v>
                </c:pt>
                <c:pt idx="41">
                  <c:v>1.0924927130430793</c:v>
                </c:pt>
                <c:pt idx="42">
                  <c:v>1.3116065664483998</c:v>
                </c:pt>
                <c:pt idx="43">
                  <c:v>1.3420497973364216</c:v>
                </c:pt>
                <c:pt idx="44">
                  <c:v>1.337028669911731</c:v>
                </c:pt>
                <c:pt idx="45">
                  <c:v>1.1715833835039133</c:v>
                </c:pt>
                <c:pt idx="46">
                  <c:v>1.2250860313224243</c:v>
                </c:pt>
                <c:pt idx="47">
                  <c:v>1.3180662176800264</c:v>
                </c:pt>
                <c:pt idx="48">
                  <c:v>1.418709379031669</c:v>
                </c:pt>
                <c:pt idx="49">
                  <c:v>1.4248049038674577</c:v>
                </c:pt>
                <c:pt idx="50">
                  <c:v>1.4561517506810289</c:v>
                </c:pt>
                <c:pt idx="51">
                  <c:v>1.4860678801762992</c:v>
                </c:pt>
                <c:pt idx="52">
                  <c:v>1.2396858902100378</c:v>
                </c:pt>
                <c:pt idx="53">
                  <c:v>-18.379151178729124</c:v>
                </c:pt>
                <c:pt idx="54">
                  <c:v>1.2396858902100378</c:v>
                </c:pt>
              </c:numCache>
            </c:numRef>
          </c:xVal>
          <c:yVal>
            <c:numRef>
              <c:f>Sheet1!$B$147:$B$201</c:f>
              <c:numCache>
                <c:formatCode>General</c:formatCode>
                <c:ptCount val="55"/>
                <c:pt idx="0">
                  <c:v>0.0011938748224665716</c:v>
                </c:pt>
                <c:pt idx="1">
                  <c:v>0.001780817615099112</c:v>
                </c:pt>
                <c:pt idx="2">
                  <c:v>0.0011746418689689954</c:v>
                </c:pt>
                <c:pt idx="3">
                  <c:v>0.0008849090289200483</c:v>
                </c:pt>
                <c:pt idx="4">
                  <c:v>0.0009911665494280871</c:v>
                </c:pt>
                <c:pt idx="5">
                  <c:v>0.0009735197538463646</c:v>
                </c:pt>
                <c:pt idx="6">
                  <c:v>0.001138249379559194</c:v>
                </c:pt>
                <c:pt idx="7">
                  <c:v>0.0010110109671886943</c:v>
                </c:pt>
                <c:pt idx="8">
                  <c:v>0.0008501228634395673</c:v>
                </c:pt>
                <c:pt idx="9">
                  <c:v>0.0009748455701093532</c:v>
                </c:pt>
                <c:pt idx="10">
                  <c:v>0.0008848473900730297</c:v>
                </c:pt>
                <c:pt idx="11">
                  <c:v>0.0011324025827726134</c:v>
                </c:pt>
                <c:pt idx="12">
                  <c:v>0.0010101749577102054</c:v>
                </c:pt>
                <c:pt idx="13">
                  <c:v>0.0010432674942022812</c:v>
                </c:pt>
                <c:pt idx="14">
                  <c:v>0.001473342263071666</c:v>
                </c:pt>
                <c:pt idx="15">
                  <c:v>0.0010224593271318154</c:v>
                </c:pt>
                <c:pt idx="16">
                  <c:v>0.0015943718914147803</c:v>
                </c:pt>
                <c:pt idx="17">
                  <c:v>0.0009958122962347785</c:v>
                </c:pt>
                <c:pt idx="18">
                  <c:v>0.0010014970863763805</c:v>
                </c:pt>
                <c:pt idx="19">
                  <c:v>0.0009938753400526414</c:v>
                </c:pt>
                <c:pt idx="20">
                  <c:v>0.001025625050775792</c:v>
                </c:pt>
                <c:pt idx="21">
                  <c:v>0.0009185704159776781</c:v>
                </c:pt>
                <c:pt idx="22">
                  <c:v>0.0009871066345881743</c:v>
                </c:pt>
                <c:pt idx="23">
                  <c:v>0.0009941936869910318</c:v>
                </c:pt>
                <c:pt idx="24">
                  <c:v>0.0010206735418556608</c:v>
                </c:pt>
                <c:pt idx="25">
                  <c:v>0.0010517614586971064</c:v>
                </c:pt>
                <c:pt idx="26">
                  <c:v>0.0008847514117525102</c:v>
                </c:pt>
                <c:pt idx="27">
                  <c:v>0.0008753478306998876</c:v>
                </c:pt>
                <c:pt idx="28">
                  <c:v>0.0010557942115487894</c:v>
                </c:pt>
                <c:pt idx="29">
                  <c:v>0.001338656343979533</c:v>
                </c:pt>
                <c:pt idx="30">
                  <c:v>0.0017920831233628372</c:v>
                </c:pt>
                <c:pt idx="31">
                  <c:v>0.0023329759077380646</c:v>
                </c:pt>
                <c:pt idx="32">
                  <c:v>0.0032927323089130328</c:v>
                </c:pt>
                <c:pt idx="33">
                  <c:v>0.00558217979239966</c:v>
                </c:pt>
                <c:pt idx="34">
                  <c:v>0.004655178835724767</c:v>
                </c:pt>
                <c:pt idx="35">
                  <c:v>0.0036032302955773</c:v>
                </c:pt>
                <c:pt idx="36">
                  <c:v>0.0033489969846484816</c:v>
                </c:pt>
                <c:pt idx="37">
                  <c:v>0.004317554889022501</c:v>
                </c:pt>
                <c:pt idx="38">
                  <c:v>0.0038772883854330366</c:v>
                </c:pt>
                <c:pt idx="39">
                  <c:v>0.002936400979521658</c:v>
                </c:pt>
                <c:pt idx="40">
                  <c:v>0.004120502616526047</c:v>
                </c:pt>
                <c:pt idx="41">
                  <c:v>0.003313478853666645</c:v>
                </c:pt>
                <c:pt idx="42">
                  <c:v>0.0025310717122305976</c:v>
                </c:pt>
                <c:pt idx="43">
                  <c:v>0.0024223656633660653</c:v>
                </c:pt>
                <c:pt idx="44">
                  <c:v>0.0024402949996178954</c:v>
                </c:pt>
                <c:pt idx="45">
                  <c:v>0.0030310635502624698</c:v>
                </c:pt>
                <c:pt idx="46">
                  <c:v>0.0028400174201873166</c:v>
                </c:pt>
                <c:pt idx="47">
                  <c:v>0.0025080057254102126</c:v>
                </c:pt>
                <c:pt idx="48">
                  <c:v>0.002148631240618675</c:v>
                </c:pt>
                <c:pt idx="49">
                  <c:v>0.00212686546867773</c:v>
                </c:pt>
                <c:pt idx="50">
                  <c:v>0.00201493280706244</c:v>
                </c:pt>
                <c:pt idx="51">
                  <c:v>0.0019081089207701974</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9.2525</c:v>
                </c:pt>
                <c:pt idx="1">
                  <c:v>9.2478</c:v>
                </c:pt>
                <c:pt idx="2">
                  <c:v>9.229</c:v>
                </c:pt>
                <c:pt idx="3">
                  <c:v>9.3326</c:v>
                </c:pt>
                <c:pt idx="4">
                  <c:v>9.1816</c:v>
                </c:pt>
                <c:pt idx="5">
                  <c:v>9.2859</c:v>
                </c:pt>
                <c:pt idx="6">
                  <c:v>9.0231</c:v>
                </c:pt>
                <c:pt idx="7">
                  <c:v>8.8095</c:v>
                </c:pt>
                <c:pt idx="8">
                  <c:v>8.6688</c:v>
                </c:pt>
                <c:pt idx="9">
                  <c:v>8.6894</c:v>
                </c:pt>
                <c:pt idx="10">
                  <c:v>8.7152</c:v>
                </c:pt>
                <c:pt idx="11">
                  <c:v>6.2484</c:v>
                </c:pt>
                <c:pt idx="12">
                  <c:v>6.059</c:v>
                </c:pt>
                <c:pt idx="13">
                  <c:v>6.1755</c:v>
                </c:pt>
                <c:pt idx="14">
                  <c:v>5.9204</c:v>
                </c:pt>
                <c:pt idx="15">
                  <c:v>4.6239</c:v>
                </c:pt>
                <c:pt idx="16">
                  <c:v>4.4785</c:v>
                </c:pt>
                <c:pt idx="17">
                  <c:v>4.4537</c:v>
                </c:pt>
                <c:pt idx="18">
                  <c:v>5.0898</c:v>
                </c:pt>
                <c:pt idx="19">
                  <c:v>4.8971</c:v>
                </c:pt>
                <c:pt idx="20">
                  <c:v>6.3723</c:v>
                </c:pt>
                <c:pt idx="21">
                  <c:v>6.459</c:v>
                </c:pt>
                <c:pt idx="22">
                  <c:v>3.8118</c:v>
                </c:pt>
                <c:pt idx="23">
                  <c:v>2.3817</c:v>
                </c:pt>
                <c:pt idx="24">
                  <c:v>2.4132</c:v>
                </c:pt>
                <c:pt idx="25">
                  <c:v>2.3791</c:v>
                </c:pt>
                <c:pt idx="26">
                  <c:v>2.5036</c:v>
                </c:pt>
                <c:pt idx="27">
                  <c:v>2.451</c:v>
                </c:pt>
                <c:pt idx="28">
                  <c:v>2.4401</c:v>
                </c:pt>
                <c:pt idx="29">
                  <c:v>2.4118</c:v>
                </c:pt>
                <c:pt idx="30">
                  <c:v>1.6037</c:v>
                </c:pt>
                <c:pt idx="31">
                  <c:v>1.504</c:v>
                </c:pt>
                <c:pt idx="32">
                  <c:v>1.5282</c:v>
                </c:pt>
                <c:pt idx="33">
                  <c:v>1.5637</c:v>
                </c:pt>
                <c:pt idx="34">
                  <c:v>1.5779</c:v>
                </c:pt>
                <c:pt idx="35">
                  <c:v>1.6061</c:v>
                </c:pt>
                <c:pt idx="36">
                  <c:v>1.6322</c:v>
                </c:pt>
                <c:pt idx="37">
                  <c:v>1.6356</c:v>
                </c:pt>
                <c:pt idx="38">
                  <c:v>1.7357</c:v>
                </c:pt>
                <c:pt idx="39">
                  <c:v>2.0046</c:v>
                </c:pt>
                <c:pt idx="40">
                  <c:v>2.3616</c:v>
                </c:pt>
                <c:pt idx="41">
                  <c:v>2.5044</c:v>
                </c:pt>
                <c:pt idx="42">
                  <c:v>2.7641</c:v>
                </c:pt>
                <c:pt idx="43">
                  <c:v>2.9066</c:v>
                </c:pt>
                <c:pt idx="44">
                  <c:v>4.0208</c:v>
                </c:pt>
                <c:pt idx="45">
                  <c:v>5.5705</c:v>
                </c:pt>
                <c:pt idx="46">
                  <c:v>6.0997</c:v>
                </c:pt>
                <c:pt idx="47">
                  <c:v>6.6204</c:v>
                </c:pt>
                <c:pt idx="48">
                  <c:v>6.6418</c:v>
                </c:pt>
                <c:pt idx="49">
                  <c:v>6.1529</c:v>
                </c:pt>
                <c:pt idx="50">
                  <c:v>5.0533</c:v>
                </c:pt>
                <c:pt idx="51">
                  <c:v>4.1989</c:v>
                </c:pt>
                <c:pt idx="52">
                  <c:v>2.8002</c:v>
                </c:pt>
                <c:pt idx="53">
                  <c:v>2.1563</c:v>
                </c:pt>
                <c:pt idx="54">
                  <c:v>1.8783</c:v>
                </c:pt>
                <c:pt idx="55">
                  <c:v>2.2685</c:v>
                </c:pt>
                <c:pt idx="56">
                  <c:v>3.342</c:v>
                </c:pt>
                <c:pt idx="57">
                  <c:v>4.3469</c:v>
                </c:pt>
                <c:pt idx="58">
                  <c:v>5.6594</c:v>
                </c:pt>
                <c:pt idx="59">
                  <c:v>5.8928</c:v>
                </c:pt>
                <c:pt idx="60">
                  <c:v>6.3412</c:v>
                </c:pt>
                <c:pt idx="61">
                  <c:v>6.4457</c:v>
                </c:pt>
                <c:pt idx="62">
                  <c:v>6.113</c:v>
                </c:pt>
                <c:pt idx="63">
                  <c:v>6.3651</c:v>
                </c:pt>
                <c:pt idx="64">
                  <c:v>7.1878</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79.7691355918984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79.76913559189848</c:v>
                </c:pt>
                <c:pt idx="1">
                  <c:v>-79.7691355918984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5.35211938721581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5.352119387215814</c:v>
                </c:pt>
                <c:pt idx="1">
                  <c:v>5.35211938721581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5.35211938721581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5.352119387215814</c:v>
                </c:pt>
                <c:pt idx="1">
                  <c:v>5.35211938721581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pt idx="52">
                  <c:v>5.352119387215814</c:v>
                </c:pt>
                <c:pt idx="53">
                  <c:v>-79.76913559189848</c:v>
                </c:pt>
                <c:pt idx="54">
                  <c:v>5.352119387215814</c:v>
                </c:pt>
              </c:numCache>
            </c:numRef>
          </c:xVal>
          <c:yVal>
            <c:numRef>
              <c:f>Sheet1!$B$147:$B$201</c:f>
              <c:numCache>
                <c:formatCode>General</c:formatCode>
                <c:ptCount val="55"/>
                <c:pt idx="0">
                  <c:v>0.0009318778447893541</c:v>
                </c:pt>
                <c:pt idx="1">
                  <c:v>0.0017947078193626832</c:v>
                </c:pt>
                <c:pt idx="2">
                  <c:v>0.001089646355019903</c:v>
                </c:pt>
                <c:pt idx="3">
                  <c:v>0.0008178927708877839</c:v>
                </c:pt>
                <c:pt idx="4">
                  <c:v>0.0009261991660173621</c:v>
                </c:pt>
                <c:pt idx="5">
                  <c:v>0.0008982172706191432</c:v>
                </c:pt>
                <c:pt idx="6">
                  <c:v>0.0010374683500714585</c:v>
                </c:pt>
                <c:pt idx="7">
                  <c:v>0.000977636473734677</c:v>
                </c:pt>
                <c:pt idx="8">
                  <c:v>0.00088685991307516</c:v>
                </c:pt>
                <c:pt idx="9">
                  <c:v>0.0010112970479048888</c:v>
                </c:pt>
                <c:pt idx="10">
                  <c:v>0.0010579609734660362</c:v>
                </c:pt>
                <c:pt idx="11">
                  <c:v>0.0010046307728247246</c:v>
                </c:pt>
                <c:pt idx="12">
                  <c:v>0.0008829918275348181</c:v>
                </c:pt>
                <c:pt idx="13">
                  <c:v>0.0009275982607872737</c:v>
                </c:pt>
                <c:pt idx="14">
                  <c:v>0.0014260051976449691</c:v>
                </c:pt>
                <c:pt idx="15">
                  <c:v>0.0009833974521990174</c:v>
                </c:pt>
                <c:pt idx="16">
                  <c:v>0.00155612101124669</c:v>
                </c:pt>
                <c:pt idx="17">
                  <c:v>0.000906941038008</c:v>
                </c:pt>
                <c:pt idx="18">
                  <c:v>0.0009065295395462615</c:v>
                </c:pt>
                <c:pt idx="19">
                  <c:v>0.0009178868970902447</c:v>
                </c:pt>
                <c:pt idx="20">
                  <c:v>0.00095533325710845</c:v>
                </c:pt>
                <c:pt idx="21">
                  <c:v>0.0008223369542745603</c:v>
                </c:pt>
                <c:pt idx="22">
                  <c:v>0.0009060357413921754</c:v>
                </c:pt>
                <c:pt idx="23">
                  <c:v>0.0009209319857071095</c:v>
                </c:pt>
                <c:pt idx="24">
                  <c:v>0.0009467740891042882</c:v>
                </c:pt>
                <c:pt idx="25">
                  <c:v>0.0009879239352781405</c:v>
                </c:pt>
                <c:pt idx="26">
                  <c:v>0.0008736096626071801</c:v>
                </c:pt>
                <c:pt idx="27">
                  <c:v>0.000984467348199537</c:v>
                </c:pt>
                <c:pt idx="28">
                  <c:v>0.0012778657514191027</c:v>
                </c:pt>
                <c:pt idx="29">
                  <c:v>0.0015250117275392577</c:v>
                </c:pt>
                <c:pt idx="30">
                  <c:v>0.0019642451855989536</c:v>
                </c:pt>
                <c:pt idx="31">
                  <c:v>0.0024689068990750756</c:v>
                </c:pt>
                <c:pt idx="32">
                  <c:v>0.0032994753942481043</c:v>
                </c:pt>
                <c:pt idx="33">
                  <c:v>0.005554651563959892</c:v>
                </c:pt>
                <c:pt idx="34">
                  <c:v>0.004605736111190863</c:v>
                </c:pt>
                <c:pt idx="35">
                  <c:v>0.0035471974682146938</c:v>
                </c:pt>
                <c:pt idx="36">
                  <c:v>0.0032801349665463947</c:v>
                </c:pt>
                <c:pt idx="37">
                  <c:v>0.00423950248024358</c:v>
                </c:pt>
                <c:pt idx="38">
                  <c:v>0.0037362398615373702</c:v>
                </c:pt>
                <c:pt idx="39">
                  <c:v>0.002847732382951557</c:v>
                </c:pt>
                <c:pt idx="40">
                  <c:v>0.004053175976768378</c:v>
                </c:pt>
                <c:pt idx="41">
                  <c:v>0.0032751146853131838</c:v>
                </c:pt>
                <c:pt idx="42">
                  <c:v>0.002510879742172404</c:v>
                </c:pt>
                <c:pt idx="43">
                  <c:v>0.002423971267053229</c:v>
                </c:pt>
                <c:pt idx="44">
                  <c:v>0.00246800160245925</c:v>
                </c:pt>
                <c:pt idx="45">
                  <c:v>0.0030286271067318108</c:v>
                </c:pt>
                <c:pt idx="46">
                  <c:v>0.002885754840816196</c:v>
                </c:pt>
                <c:pt idx="47">
                  <c:v>0.0025861016609782057</c:v>
                </c:pt>
                <c:pt idx="48">
                  <c:v>0.0023960716713473575</c:v>
                </c:pt>
                <c:pt idx="49">
                  <c:v>0.0024294030467481775</c:v>
                </c:pt>
                <c:pt idx="50">
                  <c:v>0.0023974707661172682</c:v>
                </c:pt>
                <c:pt idx="51">
                  <c:v>0.0022810990011376143</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2478587475428244</c:v>
                </c:pt>
                <c:pt idx="1">
                  <c:v>2.1258332950209184</c:v>
                </c:pt>
                <c:pt idx="2">
                  <c:v>1.9764005482268288</c:v>
                </c:pt>
                <c:pt idx="3">
                  <c:v>2.0775121321401535</c:v>
                </c:pt>
                <c:pt idx="4">
                  <c:v>2.0426251390433814</c:v>
                </c:pt>
                <c:pt idx="5">
                  <c:v>2.0140765643639518</c:v>
                </c:pt>
                <c:pt idx="6">
                  <c:v>1.975068403195797</c:v>
                </c:pt>
                <c:pt idx="7">
                  <c:v>1.9243119266055044</c:v>
                </c:pt>
                <c:pt idx="8">
                  <c:v>1.9516851655897516</c:v>
                </c:pt>
                <c:pt idx="9">
                  <c:v>1.9516215973407598</c:v>
                </c:pt>
                <c:pt idx="10">
                  <c:v>1.8547714310036603</c:v>
                </c:pt>
                <c:pt idx="11">
                  <c:v>1.2988816363863136</c:v>
                </c:pt>
                <c:pt idx="12">
                  <c:v>1.243586059685563</c:v>
                </c:pt>
                <c:pt idx="13">
                  <c:v>1.2649787992380017</c:v>
                </c:pt>
                <c:pt idx="14">
                  <c:v>1.2215573804316429</c:v>
                </c:pt>
                <c:pt idx="15">
                  <c:v>0.9684574300973924</c:v>
                </c:pt>
                <c:pt idx="16">
                  <c:v>0.9433982136838558</c:v>
                </c:pt>
                <c:pt idx="17">
                  <c:v>0.9275449850049985</c:v>
                </c:pt>
                <c:pt idx="18">
                  <c:v>1.117900285526027</c:v>
                </c:pt>
                <c:pt idx="19">
                  <c:v>1.068582525966658</c:v>
                </c:pt>
                <c:pt idx="20">
                  <c:v>1.328974535443909</c:v>
                </c:pt>
                <c:pt idx="21">
                  <c:v>1.3424088122207212</c:v>
                </c:pt>
                <c:pt idx="22">
                  <c:v>0.8125253128130795</c:v>
                </c:pt>
                <c:pt idx="23">
                  <c:v>0.5118523135114225</c:v>
                </c:pt>
                <c:pt idx="24">
                  <c:v>0.5143989938822927</c:v>
                </c:pt>
                <c:pt idx="25">
                  <c:v>0.5045062238904087</c:v>
                </c:pt>
                <c:pt idx="26">
                  <c:v>0.5278181856513399</c:v>
                </c:pt>
                <c:pt idx="27">
                  <c:v>0.5167288596546709</c:v>
                </c:pt>
                <c:pt idx="28">
                  <c:v>0.5120236696323653</c:v>
                </c:pt>
                <c:pt idx="29">
                  <c:v>0.5097865144789685</c:v>
                </c:pt>
                <c:pt idx="30">
                  <c:v>0.3468959550075708</c:v>
                </c:pt>
                <c:pt idx="31">
                  <c:v>0.323253164829024</c:v>
                </c:pt>
                <c:pt idx="32">
                  <c:v>0.3255992329817833</c:v>
                </c:pt>
                <c:pt idx="33">
                  <c:v>0.3341667735179724</c:v>
                </c:pt>
                <c:pt idx="34">
                  <c:v>0.3361167323463628</c:v>
                </c:pt>
                <c:pt idx="35">
                  <c:v>0.34112824433966277</c:v>
                </c:pt>
                <c:pt idx="36">
                  <c:v>0.3430649263299494</c:v>
                </c:pt>
                <c:pt idx="37">
                  <c:v>0.344460122570183</c:v>
                </c:pt>
                <c:pt idx="38">
                  <c:v>0.36255587584074866</c:v>
                </c:pt>
                <c:pt idx="39">
                  <c:v>0.41455041773513107</c:v>
                </c:pt>
                <c:pt idx="40">
                  <c:v>0.48863048560965017</c:v>
                </c:pt>
                <c:pt idx="41">
                  <c:v>0.5194880623949885</c:v>
                </c:pt>
                <c:pt idx="42">
                  <c:v>0.5693305870236869</c:v>
                </c:pt>
                <c:pt idx="43">
                  <c:v>0.6171256289942462</c:v>
                </c:pt>
                <c:pt idx="44">
                  <c:v>0.8764495596826227</c:v>
                </c:pt>
                <c:pt idx="45">
                  <c:v>1.176799898597262</c:v>
                </c:pt>
                <c:pt idx="46">
                  <c:v>1.2799169062257383</c:v>
                </c:pt>
                <c:pt idx="47">
                  <c:v>1.3955311973018552</c:v>
                </c:pt>
                <c:pt idx="48">
                  <c:v>1.389643268124281</c:v>
                </c:pt>
                <c:pt idx="49">
                  <c:v>1.3359895776788622</c:v>
                </c:pt>
                <c:pt idx="50">
                  <c:v>1.0745072189500098</c:v>
                </c:pt>
                <c:pt idx="51">
                  <c:v>0.8715207870649039</c:v>
                </c:pt>
                <c:pt idx="52">
                  <c:v>0.5780640366631572</c:v>
                </c:pt>
                <c:pt idx="53">
                  <c:v>0.46134919446286826</c:v>
                </c:pt>
                <c:pt idx="54">
                  <c:v>0.3918431208928758</c:v>
                </c:pt>
                <c:pt idx="55">
                  <c:v>0.4628552773867091</c:v>
                </c:pt>
                <c:pt idx="56">
                  <c:v>0.6833657090277068</c:v>
                </c:pt>
                <c:pt idx="57">
                  <c:v>0.8954741157324433</c:v>
                </c:pt>
                <c:pt idx="58">
                  <c:v>1.1897994365723417</c:v>
                </c:pt>
                <c:pt idx="59">
                  <c:v>1.216289293896675</c:v>
                </c:pt>
                <c:pt idx="60">
                  <c:v>1.4647848282552953</c:v>
                </c:pt>
                <c:pt idx="61">
                  <c:v>1.4940661072736547</c:v>
                </c:pt>
                <c:pt idx="62">
                  <c:v>1.2975738150325826</c:v>
                </c:pt>
                <c:pt idx="63">
                  <c:v>1.3630056318122443</c:v>
                </c:pt>
                <c:pt idx="64">
                  <c:v>1.5357234424408173</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6404235131754863</c:v>
                </c:pt>
                <c:pt idx="1">
                  <c:v>1.427958721588435</c:v>
                </c:pt>
                <c:pt idx="2">
                  <c:v>1.6117716099024104</c:v>
                </c:pt>
                <c:pt idx="3">
                  <c:v>1.6777784997942253</c:v>
                </c:pt>
                <c:pt idx="4">
                  <c:v>1.6280094077400045</c:v>
                </c:pt>
                <c:pt idx="5">
                  <c:v>1.7012634576029897</c:v>
                </c:pt>
                <c:pt idx="6">
                  <c:v>1.6702025503025972</c:v>
                </c:pt>
                <c:pt idx="7">
                  <c:v>1.6112011947941114</c:v>
                </c:pt>
                <c:pt idx="8">
                  <c:v>1.6373194290110267</c:v>
                </c:pt>
                <c:pt idx="9">
                  <c:v>1.6725977062687896</c:v>
                </c:pt>
                <c:pt idx="10">
                  <c:v>1.7775366638845833</c:v>
                </c:pt>
                <c:pt idx="11">
                  <c:v>1.6210115557088653</c:v>
                </c:pt>
                <c:pt idx="12">
                  <c:v>1.6426061618888461</c:v>
                </c:pt>
                <c:pt idx="13">
                  <c:v>1.6232727737973387</c:v>
                </c:pt>
                <c:pt idx="14">
                  <c:v>1.5378824458978975</c:v>
                </c:pt>
                <c:pt idx="15">
                  <c:v>1.6016771043413651</c:v>
                </c:pt>
                <c:pt idx="16">
                  <c:v>1.4614202799590303</c:v>
                </c:pt>
                <c:pt idx="17">
                  <c:v>1.7009108522815846</c:v>
                </c:pt>
                <c:pt idx="18">
                  <c:v>1.6648357636391375</c:v>
                </c:pt>
                <c:pt idx="19">
                  <c:v>1.6354841477540862</c:v>
                </c:pt>
                <c:pt idx="20">
                  <c:v>1.6319903529361097</c:v>
                </c:pt>
                <c:pt idx="21">
                  <c:v>1.6892691124157049</c:v>
                </c:pt>
                <c:pt idx="22">
                  <c:v>1.673355385660146</c:v>
                </c:pt>
                <c:pt idx="23">
                  <c:v>1.6333940628014147</c:v>
                </c:pt>
                <c:pt idx="24">
                  <c:v>1.6220051721558488</c:v>
                </c:pt>
                <c:pt idx="25">
                  <c:v>1.6162932790224032</c:v>
                </c:pt>
                <c:pt idx="26">
                  <c:v>1.6479084841070546</c:v>
                </c:pt>
                <c:pt idx="27">
                  <c:v>1.6358155874571714</c:v>
                </c:pt>
                <c:pt idx="28">
                  <c:v>1.5402370287820664</c:v>
                </c:pt>
                <c:pt idx="29">
                  <c:v>1.4789854605588126</c:v>
                </c:pt>
                <c:pt idx="30">
                  <c:v>1.3637807783955522</c:v>
                </c:pt>
                <c:pt idx="31">
                  <c:v>1.2365779041709755</c:v>
                </c:pt>
                <c:pt idx="32">
                  <c:v>1.030497767127764</c:v>
                </c:pt>
                <c:pt idx="33">
                  <c:v>0.4352094813259862</c:v>
                </c:pt>
                <c:pt idx="34">
                  <c:v>0.677449945041919</c:v>
                </c:pt>
                <c:pt idx="35">
                  <c:v>0.9705515020048642</c:v>
                </c:pt>
                <c:pt idx="36">
                  <c:v>1.042681054524718</c:v>
                </c:pt>
                <c:pt idx="37">
                  <c:v>0.7912284183369716</c:v>
                </c:pt>
                <c:pt idx="38">
                  <c:v>0.9322323588821558</c:v>
                </c:pt>
                <c:pt idx="39">
                  <c:v>1.1615330458505675</c:v>
                </c:pt>
                <c:pt idx="40">
                  <c:v>0.8284001824143847</c:v>
                </c:pt>
                <c:pt idx="41">
                  <c:v>1.1163985177541162</c:v>
                </c:pt>
                <c:pt idx="42">
                  <c:v>1.2762372683627228</c:v>
                </c:pt>
                <c:pt idx="43">
                  <c:v>1.296757155965356</c:v>
                </c:pt>
                <c:pt idx="44">
                  <c:v>1.301503094606543</c:v>
                </c:pt>
                <c:pt idx="45">
                  <c:v>1.1871143333098706</c:v>
                </c:pt>
                <c:pt idx="46">
                  <c:v>1.1461737264006306</c:v>
                </c:pt>
                <c:pt idx="47">
                  <c:v>1.450115287960828</c:v>
                </c:pt>
                <c:pt idx="48">
                  <c:v>1.5242304574103616</c:v>
                </c:pt>
                <c:pt idx="49">
                  <c:v>1.2563657281785225</c:v>
                </c:pt>
                <c:pt idx="50">
                  <c:v>1.264019958780779</c:v>
                </c:pt>
                <c:pt idx="51">
                  <c:v>1.302068333551512</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7.40096609563632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7.400966095636328</c:v>
                </c:pt>
                <c:pt idx="1">
                  <c:v>-17.40096609563632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177426299400884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1774262994008844</c:v>
                </c:pt>
                <c:pt idx="1">
                  <c:v>1.177426299400884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177426299400884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1774262994008844</c:v>
                </c:pt>
                <c:pt idx="1">
                  <c:v>1.177426299400884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6404235131754863</c:v>
                </c:pt>
                <c:pt idx="1">
                  <c:v>1.427958721588435</c:v>
                </c:pt>
                <c:pt idx="2">
                  <c:v>1.6117716099024104</c:v>
                </c:pt>
                <c:pt idx="3">
                  <c:v>1.6777784997942253</c:v>
                </c:pt>
                <c:pt idx="4">
                  <c:v>1.6280094077400045</c:v>
                </c:pt>
                <c:pt idx="5">
                  <c:v>1.7012634576029897</c:v>
                </c:pt>
                <c:pt idx="6">
                  <c:v>1.6702025503025972</c:v>
                </c:pt>
                <c:pt idx="7">
                  <c:v>1.6112011947941114</c:v>
                </c:pt>
                <c:pt idx="8">
                  <c:v>1.6373194290110267</c:v>
                </c:pt>
                <c:pt idx="9">
                  <c:v>1.6725977062687896</c:v>
                </c:pt>
                <c:pt idx="10">
                  <c:v>1.7775366638845833</c:v>
                </c:pt>
                <c:pt idx="11">
                  <c:v>1.6210115557088653</c:v>
                </c:pt>
                <c:pt idx="12">
                  <c:v>1.6426061618888461</c:v>
                </c:pt>
                <c:pt idx="13">
                  <c:v>1.6232727737973387</c:v>
                </c:pt>
                <c:pt idx="14">
                  <c:v>1.5378824458978975</c:v>
                </c:pt>
                <c:pt idx="15">
                  <c:v>1.6016771043413651</c:v>
                </c:pt>
                <c:pt idx="16">
                  <c:v>1.4614202799590303</c:v>
                </c:pt>
                <c:pt idx="17">
                  <c:v>1.7009108522815846</c:v>
                </c:pt>
                <c:pt idx="18">
                  <c:v>1.6648357636391375</c:v>
                </c:pt>
                <c:pt idx="19">
                  <c:v>1.6354841477540862</c:v>
                </c:pt>
                <c:pt idx="20">
                  <c:v>1.6319903529361097</c:v>
                </c:pt>
                <c:pt idx="21">
                  <c:v>1.6892691124157049</c:v>
                </c:pt>
                <c:pt idx="22">
                  <c:v>1.673355385660146</c:v>
                </c:pt>
                <c:pt idx="23">
                  <c:v>1.6333940628014147</c:v>
                </c:pt>
                <c:pt idx="24">
                  <c:v>1.6220051721558488</c:v>
                </c:pt>
                <c:pt idx="25">
                  <c:v>1.6162932790224032</c:v>
                </c:pt>
                <c:pt idx="26">
                  <c:v>1.6479084841070546</c:v>
                </c:pt>
                <c:pt idx="27">
                  <c:v>1.6358155874571714</c:v>
                </c:pt>
                <c:pt idx="28">
                  <c:v>1.5402370287820664</c:v>
                </c:pt>
                <c:pt idx="29">
                  <c:v>1.4789854605588126</c:v>
                </c:pt>
                <c:pt idx="30">
                  <c:v>1.3637807783955522</c:v>
                </c:pt>
                <c:pt idx="31">
                  <c:v>1.2365779041709755</c:v>
                </c:pt>
                <c:pt idx="32">
                  <c:v>1.030497767127764</c:v>
                </c:pt>
                <c:pt idx="33">
                  <c:v>0.4352094813259862</c:v>
                </c:pt>
                <c:pt idx="34">
                  <c:v>0.677449945041919</c:v>
                </c:pt>
                <c:pt idx="35">
                  <c:v>0.9705515020048642</c:v>
                </c:pt>
                <c:pt idx="36">
                  <c:v>1.042681054524718</c:v>
                </c:pt>
                <c:pt idx="37">
                  <c:v>0.7912284183369716</c:v>
                </c:pt>
                <c:pt idx="38">
                  <c:v>0.9322323588821558</c:v>
                </c:pt>
                <c:pt idx="39">
                  <c:v>1.1615330458505675</c:v>
                </c:pt>
                <c:pt idx="40">
                  <c:v>0.8284001824143847</c:v>
                </c:pt>
                <c:pt idx="41">
                  <c:v>1.1163985177541162</c:v>
                </c:pt>
                <c:pt idx="42">
                  <c:v>1.2762372683627228</c:v>
                </c:pt>
                <c:pt idx="43">
                  <c:v>1.296757155965356</c:v>
                </c:pt>
                <c:pt idx="44">
                  <c:v>1.301503094606543</c:v>
                </c:pt>
                <c:pt idx="45">
                  <c:v>1.1871143333098706</c:v>
                </c:pt>
                <c:pt idx="46">
                  <c:v>1.1461737264006306</c:v>
                </c:pt>
                <c:pt idx="47">
                  <c:v>1.450115287960828</c:v>
                </c:pt>
                <c:pt idx="48">
                  <c:v>1.5242304574103616</c:v>
                </c:pt>
                <c:pt idx="49">
                  <c:v>1.2563657281785225</c:v>
                </c:pt>
                <c:pt idx="50">
                  <c:v>1.264019958780779</c:v>
                </c:pt>
                <c:pt idx="51">
                  <c:v>1.302068333551512</c:v>
                </c:pt>
                <c:pt idx="52">
                  <c:v>1.1774262994008844</c:v>
                </c:pt>
                <c:pt idx="53">
                  <c:v>-17.400966095636328</c:v>
                </c:pt>
                <c:pt idx="54">
                  <c:v>1.1774262994008844</c:v>
                </c:pt>
              </c:numCache>
            </c:numRef>
          </c:xVal>
          <c:yVal>
            <c:numRef>
              <c:f>Sheet1!$B$147:$B$201</c:f>
              <c:numCache>
                <c:formatCode>General</c:formatCode>
                <c:ptCount val="55"/>
                <c:pt idx="0">
                  <c:v>0.0010420363655410173</c:v>
                </c:pt>
                <c:pt idx="1">
                  <c:v>0.001843188639960235</c:v>
                </c:pt>
                <c:pt idx="2">
                  <c:v>0.001150075619020148</c:v>
                </c:pt>
                <c:pt idx="3">
                  <c:v>0.000901179933437816</c:v>
                </c:pt>
                <c:pt idx="4">
                  <c:v>0.0010888468922651186</c:v>
                </c:pt>
                <c:pt idx="5">
                  <c:v>0.0008126239556563303</c:v>
                </c:pt>
                <c:pt idx="6">
                  <c:v>0.0009297469685722757</c:v>
                </c:pt>
                <c:pt idx="7">
                  <c:v>0.0011522265135658436</c:v>
                </c:pt>
                <c:pt idx="8">
                  <c:v>0.0010537411005692044</c:v>
                </c:pt>
                <c:pt idx="9">
                  <c:v>0.0009207154267550635</c:v>
                </c:pt>
                <c:pt idx="10">
                  <c:v>0.0005250165255814591</c:v>
                </c:pt>
                <c:pt idx="11">
                  <c:v>0.0011152340646004427</c:v>
                </c:pt>
                <c:pt idx="12">
                  <c:v>0.001033806136109098</c:v>
                </c:pt>
                <c:pt idx="13">
                  <c:v>0.0011067075694526753</c:v>
                </c:pt>
                <c:pt idx="14">
                  <c:v>0.001428693414255629</c:v>
                </c:pt>
                <c:pt idx="15">
                  <c:v>0.0011881395072952808</c:v>
                </c:pt>
                <c:pt idx="16">
                  <c:v>0.0017170133645465196</c:v>
                </c:pt>
                <c:pt idx="17">
                  <c:v>0.0008139535432699109</c:v>
                </c:pt>
                <c:pt idx="18">
                  <c:v>0.000949983796093846</c:v>
                </c:pt>
                <c:pt idx="19">
                  <c:v>0.001060661493083248</c:v>
                </c:pt>
                <c:pt idx="20">
                  <c:v>0.0010738357307716094</c:v>
                </c:pt>
                <c:pt idx="21">
                  <c:v>0.0008578516701175532</c:v>
                </c:pt>
                <c:pt idx="22">
                  <c:v>0.0009178584048309532</c:v>
                </c:pt>
                <c:pt idx="23">
                  <c:v>0.0010685426874263403</c:v>
                </c:pt>
                <c:pt idx="24">
                  <c:v>0.0011114873822891998</c:v>
                </c:pt>
                <c:pt idx="25">
                  <c:v>0.0011330255211070119</c:v>
                </c:pt>
                <c:pt idx="26">
                  <c:v>0.0010138123880951786</c:v>
                </c:pt>
                <c:pt idx="27">
                  <c:v>0.0010594117157908508</c:v>
                </c:pt>
                <c:pt idx="28">
                  <c:v>0.0014198148635137875</c:v>
                </c:pt>
                <c:pt idx="29">
                  <c:v>0.0016507794051079548</c:v>
                </c:pt>
                <c:pt idx="30">
                  <c:v>0.0020851878190828576</c:v>
                </c:pt>
                <c:pt idx="31">
                  <c:v>0.0025648384531312164</c:v>
                </c:pt>
                <c:pt idx="32">
                  <c:v>0.00334191577154963</c:v>
                </c:pt>
                <c:pt idx="33">
                  <c:v>0.0055866009287598275</c:v>
                </c:pt>
                <c:pt idx="34">
                  <c:v>0.004673171945949419</c:v>
                </c:pt>
                <c:pt idx="35">
                  <c:v>0.003567958337413873</c:v>
                </c:pt>
                <c:pt idx="36">
                  <c:v>0.0032959756026629955</c:v>
                </c:pt>
                <c:pt idx="37">
                  <c:v>0.004244141413505035</c:v>
                </c:pt>
                <c:pt idx="38">
                  <c:v>0.003712450365656468</c:v>
                </c:pt>
                <c:pt idx="39">
                  <c:v>0.002847814086306793</c:v>
                </c:pt>
                <c:pt idx="40">
                  <c:v>0.0041039758683700306</c:v>
                </c:pt>
                <c:pt idx="41">
                  <c:v>0.0030180052486598963</c:v>
                </c:pt>
                <c:pt idx="42">
                  <c:v>0.0024152927821195543</c:v>
                </c:pt>
                <c:pt idx="43">
                  <c:v>0.0023379173520500472</c:v>
                </c:pt>
                <c:pt idx="44">
                  <c:v>0.002320021589141569</c:v>
                </c:pt>
                <c:pt idx="45">
                  <c:v>0.002751353366968288</c:v>
                </c:pt>
                <c:pt idx="46">
                  <c:v>0.0029057302879462845</c:v>
                </c:pt>
                <c:pt idx="47">
                  <c:v>0.0017596416983236022</c:v>
                </c:pt>
                <c:pt idx="48">
                  <c:v>0.0014801716923526055</c:v>
                </c:pt>
                <c:pt idx="49">
                  <c:v>0.002490223454142274</c:v>
                </c:pt>
                <c:pt idx="50">
                  <c:v>0.002461361240266172</c:v>
                </c:pt>
                <c:pt idx="51">
                  <c:v>0.0023178902126298672</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9.2525</c:v>
                </c:pt>
                <c:pt idx="1">
                  <c:v>9.2478</c:v>
                </c:pt>
                <c:pt idx="2">
                  <c:v>9.229</c:v>
                </c:pt>
                <c:pt idx="3">
                  <c:v>9.3326</c:v>
                </c:pt>
                <c:pt idx="4">
                  <c:v>9.1816</c:v>
                </c:pt>
                <c:pt idx="5">
                  <c:v>9.2859</c:v>
                </c:pt>
                <c:pt idx="6">
                  <c:v>9.0231</c:v>
                </c:pt>
                <c:pt idx="7">
                  <c:v>8.8095</c:v>
                </c:pt>
                <c:pt idx="8">
                  <c:v>8.6688</c:v>
                </c:pt>
                <c:pt idx="9">
                  <c:v>8.6894</c:v>
                </c:pt>
                <c:pt idx="10">
                  <c:v>8.7152</c:v>
                </c:pt>
                <c:pt idx="11">
                  <c:v>6.2484</c:v>
                </c:pt>
                <c:pt idx="12">
                  <c:v>6.059</c:v>
                </c:pt>
                <c:pt idx="13">
                  <c:v>6.1755</c:v>
                </c:pt>
                <c:pt idx="14">
                  <c:v>5.9204</c:v>
                </c:pt>
                <c:pt idx="15">
                  <c:v>4.6239</c:v>
                </c:pt>
                <c:pt idx="16">
                  <c:v>4.4785</c:v>
                </c:pt>
                <c:pt idx="17">
                  <c:v>4.4537</c:v>
                </c:pt>
                <c:pt idx="18">
                  <c:v>5.0898</c:v>
                </c:pt>
                <c:pt idx="19">
                  <c:v>4.8971</c:v>
                </c:pt>
                <c:pt idx="20">
                  <c:v>6.3723</c:v>
                </c:pt>
                <c:pt idx="21">
                  <c:v>6.459</c:v>
                </c:pt>
                <c:pt idx="22">
                  <c:v>3.8118</c:v>
                </c:pt>
                <c:pt idx="23">
                  <c:v>2.3817</c:v>
                </c:pt>
                <c:pt idx="24">
                  <c:v>2.4132</c:v>
                </c:pt>
                <c:pt idx="25">
                  <c:v>2.3791</c:v>
                </c:pt>
                <c:pt idx="26">
                  <c:v>2.5036</c:v>
                </c:pt>
                <c:pt idx="27">
                  <c:v>2.451</c:v>
                </c:pt>
                <c:pt idx="28">
                  <c:v>2.4401</c:v>
                </c:pt>
                <c:pt idx="29">
                  <c:v>2.4118</c:v>
                </c:pt>
                <c:pt idx="30">
                  <c:v>1.6037</c:v>
                </c:pt>
                <c:pt idx="31">
                  <c:v>1.504</c:v>
                </c:pt>
                <c:pt idx="32">
                  <c:v>1.5282</c:v>
                </c:pt>
                <c:pt idx="33">
                  <c:v>1.5637</c:v>
                </c:pt>
                <c:pt idx="34">
                  <c:v>1.5779</c:v>
                </c:pt>
                <c:pt idx="35">
                  <c:v>1.6061</c:v>
                </c:pt>
                <c:pt idx="36">
                  <c:v>1.6322</c:v>
                </c:pt>
                <c:pt idx="37">
                  <c:v>1.6356</c:v>
                </c:pt>
                <c:pt idx="38">
                  <c:v>1.7357</c:v>
                </c:pt>
                <c:pt idx="39">
                  <c:v>2.0046</c:v>
                </c:pt>
                <c:pt idx="40">
                  <c:v>2.3616</c:v>
                </c:pt>
                <c:pt idx="41">
                  <c:v>2.5044</c:v>
                </c:pt>
                <c:pt idx="42">
                  <c:v>2.7641</c:v>
                </c:pt>
                <c:pt idx="43">
                  <c:v>2.9066</c:v>
                </c:pt>
                <c:pt idx="44">
                  <c:v>4.0208</c:v>
                </c:pt>
                <c:pt idx="45">
                  <c:v>5.5705</c:v>
                </c:pt>
                <c:pt idx="46">
                  <c:v>6.0997</c:v>
                </c:pt>
                <c:pt idx="47">
                  <c:v>6.6204</c:v>
                </c:pt>
                <c:pt idx="48">
                  <c:v>6.6418</c:v>
                </c:pt>
                <c:pt idx="49">
                  <c:v>6.1529</c:v>
                </c:pt>
                <c:pt idx="50">
                  <c:v>5.0533</c:v>
                </c:pt>
                <c:pt idx="51">
                  <c:v>4.1989</c:v>
                </c:pt>
                <c:pt idx="52">
                  <c:v>2.8002</c:v>
                </c:pt>
                <c:pt idx="53">
                  <c:v>2.1563</c:v>
                </c:pt>
                <c:pt idx="54">
                  <c:v>1.8783</c:v>
                </c:pt>
                <c:pt idx="55">
                  <c:v>2.2685</c:v>
                </c:pt>
                <c:pt idx="56">
                  <c:v>3.342</c:v>
                </c:pt>
                <c:pt idx="57">
                  <c:v>4.3469</c:v>
                </c:pt>
                <c:pt idx="58">
                  <c:v>5.6594</c:v>
                </c:pt>
                <c:pt idx="59">
                  <c:v>5.8928</c:v>
                </c:pt>
                <c:pt idx="60">
                  <c:v>6.3412</c:v>
                </c:pt>
                <c:pt idx="61">
                  <c:v>6.4457</c:v>
                </c:pt>
                <c:pt idx="62">
                  <c:v>6.113</c:v>
                </c:pt>
                <c:pt idx="63">
                  <c:v>6.3651</c:v>
                </c:pt>
                <c:pt idx="64">
                  <c:v>7.1878</c:v>
                </c:pt>
              </c:numCache>
            </c:numRef>
          </c:xVal>
          <c:yVal>
            <c:numRef>
              <c:f>Sheet1!$B$2:$B$66</c:f>
              <c:numCache>
                <c:formatCode>General</c:formatCode>
                <c:ptCount val="65"/>
                <c:pt idx="0">
                  <c:v>0.0015981755498739455</c:v>
                </c:pt>
                <c:pt idx="1">
                  <c:v>0.0018411499040219147</c:v>
                </c:pt>
                <c:pt idx="2">
                  <c:v>0.002077395837400111</c:v>
                </c:pt>
                <c:pt idx="3">
                  <c:v>0.002934214291288401</c:v>
                </c:pt>
                <c:pt idx="4">
                  <c:v>0.0029387712350896133</c:v>
                </c:pt>
                <c:pt idx="5">
                  <c:v>0.003332070034261051</c:v>
                </c:pt>
                <c:pt idx="6">
                  <c:v>0.0032690668177152104</c:v>
                </c:pt>
                <c:pt idx="7">
                  <c:v>0.0032830079163885814</c:v>
                </c:pt>
                <c:pt idx="8">
                  <c:v>0.003440932936079987</c:v>
                </c:pt>
                <c:pt idx="9">
                  <c:v>0.0032574903472424167</c:v>
                </c:pt>
                <c:pt idx="10">
                  <c:v>0.0033442584962598727</c:v>
                </c:pt>
                <c:pt idx="11">
                  <c:v>0.009740333969381744</c:v>
                </c:pt>
                <c:pt idx="12">
                  <c:v>0.014742092099183165</c:v>
                </c:pt>
                <c:pt idx="13">
                  <c:v>0.01367470392774985</c:v>
                </c:pt>
                <c:pt idx="14">
                  <c:v>0.017144656248211116</c:v>
                </c:pt>
                <c:pt idx="15">
                  <c:v>0.03113861683372057</c:v>
                </c:pt>
                <c:pt idx="16">
                  <c:v>0.0591929596479824</c:v>
                </c:pt>
                <c:pt idx="17">
                  <c:v>0.05095030106619144</c:v>
                </c:pt>
                <c:pt idx="18">
                  <c:v>0.01666356492782585</c:v>
                </c:pt>
                <c:pt idx="19">
                  <c:v>0.018100263899179306</c:v>
                </c:pt>
                <c:pt idx="20">
                  <c:v>0.008438206691754099</c:v>
                </c:pt>
                <c:pt idx="21">
                  <c:v>0.008608030402866595</c:v>
                </c:pt>
                <c:pt idx="22">
                  <c:v>0.021258047156517645</c:v>
                </c:pt>
                <c:pt idx="23">
                  <c:v>0.0676221558738949</c:v>
                </c:pt>
                <c:pt idx="24">
                  <c:v>0.051555846218836805</c:v>
                </c:pt>
                <c:pt idx="25">
                  <c:v>0.04622257540331413</c:v>
                </c:pt>
                <c:pt idx="26">
                  <c:v>0.03831740158204486</c:v>
                </c:pt>
                <c:pt idx="27">
                  <c:v>0.03964279607617142</c:v>
                </c:pt>
                <c:pt idx="28">
                  <c:v>0.04093696558634882</c:v>
                </c:pt>
                <c:pt idx="29">
                  <c:v>0.039580426591362905</c:v>
                </c:pt>
                <c:pt idx="30">
                  <c:v>0.10785301241720248</c:v>
                </c:pt>
                <c:pt idx="31">
                  <c:v>0.12544201616106102</c:v>
                </c:pt>
                <c:pt idx="32">
                  <c:v>0.10178762953065855</c:v>
                </c:pt>
                <c:pt idx="33">
                  <c:v>0.09996776446965913</c:v>
                </c:pt>
                <c:pt idx="34">
                  <c:v>0.09041780203326873</c:v>
                </c:pt>
                <c:pt idx="35">
                  <c:v>0.07515343183432804</c:v>
                </c:pt>
                <c:pt idx="36">
                  <c:v>0.07319566880006441</c:v>
                </c:pt>
                <c:pt idx="37">
                  <c:v>0.06843391129156619</c:v>
                </c:pt>
                <c:pt idx="38">
                  <c:v>0.05337640137716647</c:v>
                </c:pt>
                <c:pt idx="39">
                  <c:v>0.039359777069924155</c:v>
                </c:pt>
                <c:pt idx="40">
                  <c:v>0.03281409736201427</c:v>
                </c:pt>
                <c:pt idx="41">
                  <c:v>0.032009564356345284</c:v>
                </c:pt>
                <c:pt idx="42">
                  <c:v>0.028765971044185577</c:v>
                </c:pt>
                <c:pt idx="43">
                  <c:v>0.024367281036456502</c:v>
                </c:pt>
                <c:pt idx="44">
                  <c:v>0.016068493720657682</c:v>
                </c:pt>
                <c:pt idx="45">
                  <c:v>0.010653371953378211</c:v>
                </c:pt>
                <c:pt idx="46">
                  <c:v>0.011970598302799845</c:v>
                </c:pt>
                <c:pt idx="47">
                  <c:v>0.009646161788650173</c:v>
                </c:pt>
                <c:pt idx="48">
                  <c:v>0.010801859754155787</c:v>
                </c:pt>
                <c:pt idx="49">
                  <c:v>0.017778066324198136</c:v>
                </c:pt>
                <c:pt idx="50">
                  <c:v>0.037183956213446064</c:v>
                </c:pt>
                <c:pt idx="51">
                  <c:v>0.066336174320755</c:v>
                </c:pt>
                <c:pt idx="52">
                  <c:v>0.03531063057231692</c:v>
                </c:pt>
                <c:pt idx="53">
                  <c:v>0.038674494685007894</c:v>
                </c:pt>
                <c:pt idx="54">
                  <c:v>0.032560979236207654</c:v>
                </c:pt>
                <c:pt idx="55">
                  <c:v>0.015121104027787888</c:v>
                </c:pt>
                <c:pt idx="56">
                  <c:v>0.005609933331903021</c:v>
                </c:pt>
                <c:pt idx="57">
                  <c:v>0.0029068911447942816</c:v>
                </c:pt>
                <c:pt idx="58">
                  <c:v>0.0016667990247491357</c:v>
                </c:pt>
                <c:pt idx="59">
                  <c:v>0.0012452009708703762</c:v>
                </c:pt>
                <c:pt idx="60">
                  <c:v>0.0012020202193901853</c:v>
                </c:pt>
                <c:pt idx="61">
                  <c:v>0.0011361658069067885</c:v>
                </c:pt>
                <c:pt idx="62">
                  <c:v>0.0015069615069615069</c:v>
                </c:pt>
                <c:pt idx="63">
                  <c:v>0.0017177996766494727</c:v>
                </c:pt>
                <c:pt idx="64">
                  <c:v>0.00140200026018115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numCache>
            </c:numRef>
          </c:xVal>
          <c:yVal>
            <c:numRef>
              <c:f>Sheet1!$B$69:$B$120</c:f>
              <c:numCache>
                <c:formatCode>General</c:formatCode>
                <c:ptCount val="52"/>
                <c:pt idx="0">
                  <c:v>0.001031879208284981</c:v>
                </c:pt>
                <c:pt idx="1">
                  <c:v>0.0014274375256042606</c:v>
                </c:pt>
                <c:pt idx="2">
                  <c:v>0.001231534972394424</c:v>
                </c:pt>
                <c:pt idx="3">
                  <c:v>0.0012406782263057158</c:v>
                </c:pt>
                <c:pt idx="4">
                  <c:v>0.0012480466831742067</c:v>
                </c:pt>
                <c:pt idx="5">
                  <c:v>0.0012501889353053355</c:v>
                </c:pt>
                <c:pt idx="6">
                  <c:v>0.001177128276239241</c:v>
                </c:pt>
                <c:pt idx="7">
                  <c:v>0.0010395666550033625</c:v>
                </c:pt>
                <c:pt idx="8">
                  <c:v>0.0011228565089226282</c:v>
                </c:pt>
                <c:pt idx="9">
                  <c:v>0.0011292975325034045</c:v>
                </c:pt>
                <c:pt idx="10">
                  <c:v>0.0010767128399481113</c:v>
                </c:pt>
                <c:pt idx="11">
                  <c:v>0.0010154207438800575</c:v>
                </c:pt>
                <c:pt idx="12">
                  <c:v>0.0010671798042787464</c:v>
                </c:pt>
                <c:pt idx="13">
                  <c:v>0.0010171221822712977</c:v>
                </c:pt>
                <c:pt idx="14">
                  <c:v>0.0010949354672408994</c:v>
                </c:pt>
                <c:pt idx="15">
                  <c:v>0.0011129375701984276</c:v>
                </c:pt>
                <c:pt idx="16">
                  <c:v>0.0011983915727473524</c:v>
                </c:pt>
                <c:pt idx="17">
                  <c:v>0.0009707244247699404</c:v>
                </c:pt>
                <c:pt idx="18">
                  <c:v>0.0010989195417228227</c:v>
                </c:pt>
                <c:pt idx="19">
                  <c:v>0.0010587363641211154</c:v>
                </c:pt>
                <c:pt idx="20">
                  <c:v>0.0010186649747799456</c:v>
                </c:pt>
                <c:pt idx="21">
                  <c:v>0.0010021808560435495</c:v>
                </c:pt>
                <c:pt idx="22">
                  <c:v>0.0010106704600887403</c:v>
                </c:pt>
                <c:pt idx="23">
                  <c:v>0.0010428358767383915</c:v>
                </c:pt>
                <c:pt idx="24">
                  <c:v>0.0011923176601560527</c:v>
                </c:pt>
                <c:pt idx="25">
                  <c:v>0.0011325779368650242</c:v>
                </c:pt>
                <c:pt idx="26">
                  <c:v>0.001090929404817008</c:v>
                </c:pt>
                <c:pt idx="27">
                  <c:v>0.0010233745933217009</c:v>
                </c:pt>
                <c:pt idx="28">
                  <c:v>0.0012688840043254734</c:v>
                </c:pt>
                <c:pt idx="29">
                  <c:v>0.0013061259632356106</c:v>
                </c:pt>
                <c:pt idx="30">
                  <c:v>0.00134170031392938</c:v>
                </c:pt>
                <c:pt idx="31">
                  <c:v>0.0016777607475691211</c:v>
                </c:pt>
                <c:pt idx="32">
                  <c:v>0.0025196758874904525</c:v>
                </c:pt>
                <c:pt idx="33">
                  <c:v>0.01014690939479407</c:v>
                </c:pt>
                <c:pt idx="34">
                  <c:v>0.0037798895288291266</c:v>
                </c:pt>
                <c:pt idx="35">
                  <c:v>0.0023054059734808003</c:v>
                </c:pt>
                <c:pt idx="36">
                  <c:v>0.0023154357094245406</c:v>
                </c:pt>
                <c:pt idx="37">
                  <c:v>0.003409885248108092</c:v>
                </c:pt>
                <c:pt idx="38">
                  <c:v>0.001984231383810998</c:v>
                </c:pt>
                <c:pt idx="39">
                  <c:v>0.0017767692101481576</c:v>
                </c:pt>
                <c:pt idx="40">
                  <c:v>0.0029157274146003123</c:v>
                </c:pt>
                <c:pt idx="41">
                  <c:v>0.003195712838834022</c:v>
                </c:pt>
                <c:pt idx="42">
                  <c:v>0.002846967854489542</c:v>
                </c:pt>
                <c:pt idx="43">
                  <c:v>0.0028637738034258684</c:v>
                </c:pt>
                <c:pt idx="44">
                  <c:v>0.002947630374595432</c:v>
                </c:pt>
                <c:pt idx="45">
                  <c:v>0.004016311965445236</c:v>
                </c:pt>
                <c:pt idx="46">
                  <c:v>0.0034557616169656725</c:v>
                </c:pt>
                <c:pt idx="47">
                  <c:v>0.0028569326696798927</c:v>
                </c:pt>
                <c:pt idx="48">
                  <c:v>0.002313194124471278</c:v>
                </c:pt>
                <c:pt idx="49">
                  <c:v>0.0024303532573154347</c:v>
                </c:pt>
                <c:pt idx="50">
                  <c:v>0.0023600440392520993</c:v>
                </c:pt>
                <c:pt idx="51">
                  <c:v>0.002263319993722536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79.76913559189848</c:v>
                </c:pt>
              </c:numCache>
            </c:numRef>
          </c:xVal>
          <c:yVal>
            <c:numRef>
              <c:f>Sheet1!$B$123:$B$124</c:f>
              <c:numCache>
                <c:formatCode>General</c:formatCode>
                <c:ptCount val="2"/>
                <c:pt idx="0">
                  <c:v>0.07284241552131158</c:v>
                </c:pt>
                <c:pt idx="1">
                  <c:v>0.07284241552131158</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79.76913559189848</c:v>
                </c:pt>
                <c:pt idx="1">
                  <c:v>-79.76913559189848</c:v>
                </c:pt>
              </c:numCache>
            </c:numRef>
          </c:xVal>
          <c:yVal>
            <c:numRef>
              <c:f>Sheet1!$B$127:$B$128</c:f>
              <c:numCache>
                <c:formatCode>General</c:formatCode>
                <c:ptCount val="2"/>
                <c:pt idx="0">
                  <c:v>0.0728424155213115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5.352119387215814</c:v>
                </c:pt>
              </c:numCache>
            </c:numRef>
          </c:xVal>
          <c:yVal>
            <c:numRef>
              <c:f>Sheet1!$B$131:$B$132</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5.352119387215814</c:v>
                </c:pt>
                <c:pt idx="1">
                  <c:v>5.352119387215814</c:v>
                </c:pt>
              </c:numCache>
            </c:numRef>
          </c:xVal>
          <c:yVal>
            <c:numRef>
              <c:f>Sheet1!$B$135:$B$136</c:f>
              <c:numCache>
                <c:formatCode>General</c:formatCode>
                <c:ptCount val="2"/>
                <c:pt idx="0">
                  <c:v>0.0027878845509958063</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5.352119387215814</c:v>
                </c:pt>
              </c:numCache>
            </c:numRef>
          </c:xVal>
          <c:yVal>
            <c:numRef>
              <c:f>Sheet1!$B$139:$B$140</c:f>
              <c:numCache>
                <c:formatCode>General</c:formatCode>
                <c:ptCount val="2"/>
                <c:pt idx="0">
                  <c:v>0.0027878845509958063</c:v>
                </c:pt>
                <c:pt idx="1">
                  <c:v>0.0027878845509958063</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5.352119387215814</c:v>
                </c:pt>
                <c:pt idx="1">
                  <c:v>5.352119387215814</c:v>
                </c:pt>
              </c:numCache>
            </c:numRef>
          </c:xVal>
          <c:yVal>
            <c:numRef>
              <c:f>Sheet1!$B$143:$B$144</c:f>
              <c:numCache>
                <c:formatCode>General</c:formatCode>
                <c:ptCount val="2"/>
                <c:pt idx="0">
                  <c:v>0.0027878845509958063</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7.6073</c:v>
                </c:pt>
                <c:pt idx="1">
                  <c:v>6.5589</c:v>
                </c:pt>
                <c:pt idx="2">
                  <c:v>7.4156</c:v>
                </c:pt>
                <c:pt idx="3">
                  <c:v>7.7458</c:v>
                </c:pt>
                <c:pt idx="4">
                  <c:v>7.6142</c:v>
                </c:pt>
                <c:pt idx="5">
                  <c:v>7.6482</c:v>
                </c:pt>
                <c:pt idx="6">
                  <c:v>7.479</c:v>
                </c:pt>
                <c:pt idx="7">
                  <c:v>7.5517</c:v>
                </c:pt>
                <c:pt idx="8">
                  <c:v>7.662</c:v>
                </c:pt>
                <c:pt idx="9">
                  <c:v>7.5108</c:v>
                </c:pt>
                <c:pt idx="10">
                  <c:v>7.4541</c:v>
                </c:pt>
                <c:pt idx="11">
                  <c:v>7.5189</c:v>
                </c:pt>
                <c:pt idx="12">
                  <c:v>7.6667</c:v>
                </c:pt>
                <c:pt idx="13">
                  <c:v>7.6125</c:v>
                </c:pt>
                <c:pt idx="14">
                  <c:v>7.0069</c:v>
                </c:pt>
                <c:pt idx="15">
                  <c:v>7.5447</c:v>
                </c:pt>
                <c:pt idx="16">
                  <c:v>6.8488</c:v>
                </c:pt>
                <c:pt idx="17">
                  <c:v>7.6376</c:v>
                </c:pt>
                <c:pt idx="18">
                  <c:v>7.6381</c:v>
                </c:pt>
                <c:pt idx="19">
                  <c:v>7.6243</c:v>
                </c:pt>
                <c:pt idx="20">
                  <c:v>7.5788</c:v>
                </c:pt>
                <c:pt idx="21">
                  <c:v>7.7404</c:v>
                </c:pt>
                <c:pt idx="22">
                  <c:v>7.6387</c:v>
                </c:pt>
                <c:pt idx="23">
                  <c:v>7.6206</c:v>
                </c:pt>
                <c:pt idx="24">
                  <c:v>7.5892</c:v>
                </c:pt>
                <c:pt idx="25">
                  <c:v>7.5392</c:v>
                </c:pt>
                <c:pt idx="26">
                  <c:v>7.6781</c:v>
                </c:pt>
                <c:pt idx="27">
                  <c:v>7.5434</c:v>
                </c:pt>
                <c:pt idx="28">
                  <c:v>7.1869</c:v>
                </c:pt>
                <c:pt idx="29">
                  <c:v>6.8866</c:v>
                </c:pt>
                <c:pt idx="30">
                  <c:v>6.3529</c:v>
                </c:pt>
                <c:pt idx="31">
                  <c:v>5.7397</c:v>
                </c:pt>
                <c:pt idx="32">
                  <c:v>4.7305</c:v>
                </c:pt>
                <c:pt idx="33">
                  <c:v>1.9903</c:v>
                </c:pt>
                <c:pt idx="34">
                  <c:v>3.1433</c:v>
                </c:pt>
                <c:pt idx="35">
                  <c:v>4.4295</c:v>
                </c:pt>
                <c:pt idx="36">
                  <c:v>4.754</c:v>
                </c:pt>
                <c:pt idx="37">
                  <c:v>3.5883</c:v>
                </c:pt>
                <c:pt idx="38">
                  <c:v>4.1998</c:v>
                </c:pt>
                <c:pt idx="39">
                  <c:v>5.2794</c:v>
                </c:pt>
                <c:pt idx="40">
                  <c:v>3.8147</c:v>
                </c:pt>
                <c:pt idx="41">
                  <c:v>4.7601</c:v>
                </c:pt>
                <c:pt idx="42">
                  <c:v>5.6887</c:v>
                </c:pt>
                <c:pt idx="43">
                  <c:v>5.7943</c:v>
                </c:pt>
                <c:pt idx="44">
                  <c:v>5.7408</c:v>
                </c:pt>
                <c:pt idx="45">
                  <c:v>5.0596</c:v>
                </c:pt>
                <c:pt idx="46">
                  <c:v>5.2332</c:v>
                </c:pt>
                <c:pt idx="47">
                  <c:v>5.5973</c:v>
                </c:pt>
                <c:pt idx="48">
                  <c:v>5.8282</c:v>
                </c:pt>
                <c:pt idx="49">
                  <c:v>5.7877</c:v>
                </c:pt>
                <c:pt idx="50">
                  <c:v>5.8265</c:v>
                </c:pt>
                <c:pt idx="51">
                  <c:v>5.9679</c:v>
                </c:pt>
                <c:pt idx="52">
                  <c:v>5.352119387215814</c:v>
                </c:pt>
                <c:pt idx="53">
                  <c:v>-79.76913559189848</c:v>
                </c:pt>
                <c:pt idx="54">
                  <c:v>5.352119387215814</c:v>
                </c:pt>
              </c:numCache>
            </c:numRef>
          </c:xVal>
          <c:yVal>
            <c:numRef>
              <c:f>Sheet1!$B$147:$B$201</c:f>
              <c:numCache>
                <c:formatCode>General</c:formatCode>
                <c:ptCount val="55"/>
                <c:pt idx="0">
                  <c:v>0.0009318778447893541</c:v>
                </c:pt>
                <c:pt idx="1">
                  <c:v>0.0017947078193626832</c:v>
                </c:pt>
                <c:pt idx="2">
                  <c:v>0.001089646355019903</c:v>
                </c:pt>
                <c:pt idx="3">
                  <c:v>0.0008178927708877839</c:v>
                </c:pt>
                <c:pt idx="4">
                  <c:v>0.0009261991660173621</c:v>
                </c:pt>
                <c:pt idx="5">
                  <c:v>0.0008982172706191432</c:v>
                </c:pt>
                <c:pt idx="6">
                  <c:v>0.0010374683500714585</c:v>
                </c:pt>
                <c:pt idx="7">
                  <c:v>0.000977636473734677</c:v>
                </c:pt>
                <c:pt idx="8">
                  <c:v>0.00088685991307516</c:v>
                </c:pt>
                <c:pt idx="9">
                  <c:v>0.0010112970479048888</c:v>
                </c:pt>
                <c:pt idx="10">
                  <c:v>0.0010579609734660362</c:v>
                </c:pt>
                <c:pt idx="11">
                  <c:v>0.0010046307728247246</c:v>
                </c:pt>
                <c:pt idx="12">
                  <c:v>0.0008829918275348181</c:v>
                </c:pt>
                <c:pt idx="13">
                  <c:v>0.0009275982607872737</c:v>
                </c:pt>
                <c:pt idx="14">
                  <c:v>0.0014260051976449691</c:v>
                </c:pt>
                <c:pt idx="15">
                  <c:v>0.0009833974521990174</c:v>
                </c:pt>
                <c:pt idx="16">
                  <c:v>0.00155612101124669</c:v>
                </c:pt>
                <c:pt idx="17">
                  <c:v>0.000906941038008</c:v>
                </c:pt>
                <c:pt idx="18">
                  <c:v>0.0009065295395462615</c:v>
                </c:pt>
                <c:pt idx="19">
                  <c:v>0.0009178868970902447</c:v>
                </c:pt>
                <c:pt idx="20">
                  <c:v>0.00095533325710845</c:v>
                </c:pt>
                <c:pt idx="21">
                  <c:v>0.0008223369542745603</c:v>
                </c:pt>
                <c:pt idx="22">
                  <c:v>0.0009060357413921754</c:v>
                </c:pt>
                <c:pt idx="23">
                  <c:v>0.0009209319857071095</c:v>
                </c:pt>
                <c:pt idx="24">
                  <c:v>0.0009467740891042882</c:v>
                </c:pt>
                <c:pt idx="25">
                  <c:v>0.0009879239352781405</c:v>
                </c:pt>
                <c:pt idx="26">
                  <c:v>0.0008736096626071801</c:v>
                </c:pt>
                <c:pt idx="27">
                  <c:v>0.000984467348199537</c:v>
                </c:pt>
                <c:pt idx="28">
                  <c:v>0.0012778657514191027</c:v>
                </c:pt>
                <c:pt idx="29">
                  <c:v>0.0015250117275392577</c:v>
                </c:pt>
                <c:pt idx="30">
                  <c:v>0.0019642451855989536</c:v>
                </c:pt>
                <c:pt idx="31">
                  <c:v>0.0024689068990750756</c:v>
                </c:pt>
                <c:pt idx="32">
                  <c:v>0.0032994753942481043</c:v>
                </c:pt>
                <c:pt idx="33">
                  <c:v>0.005554651563959892</c:v>
                </c:pt>
                <c:pt idx="34">
                  <c:v>0.004605736111190863</c:v>
                </c:pt>
                <c:pt idx="35">
                  <c:v>0.0035471974682146938</c:v>
                </c:pt>
                <c:pt idx="36">
                  <c:v>0.0032801349665463947</c:v>
                </c:pt>
                <c:pt idx="37">
                  <c:v>0.00423950248024358</c:v>
                </c:pt>
                <c:pt idx="38">
                  <c:v>0.0037362398615373702</c:v>
                </c:pt>
                <c:pt idx="39">
                  <c:v>0.002847732382951557</c:v>
                </c:pt>
                <c:pt idx="40">
                  <c:v>0.004053175976768378</c:v>
                </c:pt>
                <c:pt idx="41">
                  <c:v>0.0032751146853131838</c:v>
                </c:pt>
                <c:pt idx="42">
                  <c:v>0.002510879742172404</c:v>
                </c:pt>
                <c:pt idx="43">
                  <c:v>0.002423971267053229</c:v>
                </c:pt>
                <c:pt idx="44">
                  <c:v>0.00246800160245925</c:v>
                </c:pt>
                <c:pt idx="45">
                  <c:v>0.0030286271067318108</c:v>
                </c:pt>
                <c:pt idx="46">
                  <c:v>0.002885754840816196</c:v>
                </c:pt>
                <c:pt idx="47">
                  <c:v>0.0025861016609782057</c:v>
                </c:pt>
                <c:pt idx="48">
                  <c:v>0.0023960716713473575</c:v>
                </c:pt>
                <c:pt idx="49">
                  <c:v>0.0024294030467481775</c:v>
                </c:pt>
                <c:pt idx="50">
                  <c:v>0.0023974707661172682</c:v>
                </c:pt>
                <c:pt idx="51">
                  <c:v>0.0022810990011376143</c:v>
                </c:pt>
                <c:pt idx="52">
                  <c:v>0.0027878845509958063</c:v>
                </c:pt>
                <c:pt idx="53">
                  <c:v>0.07284241552131158</c:v>
                </c:pt>
                <c:pt idx="54">
                  <c:v>0.002787884550995806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1.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5053041939327322"/>
          <c:min val="0.000776579539815952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674455356135004</c:v>
                </c:pt>
                <c:pt idx="1">
                  <c:v>1.0690005073566717</c:v>
                </c:pt>
                <c:pt idx="2">
                  <c:v>1.0724203263297798</c:v>
                </c:pt>
                <c:pt idx="3">
                  <c:v>1.078552066862435</c:v>
                </c:pt>
                <c:pt idx="4">
                  <c:v>1.071597766623428</c:v>
                </c:pt>
                <c:pt idx="5">
                  <c:v>1.0931491240564022</c:v>
                </c:pt>
                <c:pt idx="6">
                  <c:v>1.053879126806143</c:v>
                </c:pt>
                <c:pt idx="7">
                  <c:v>1.0140372028935585</c:v>
                </c:pt>
                <c:pt idx="8">
                  <c:v>1.0071932218810418</c:v>
                </c:pt>
                <c:pt idx="9">
                  <c:v>1.0145828623106488</c:v>
                </c:pt>
                <c:pt idx="10">
                  <c:v>0.9799446552363563</c:v>
                </c:pt>
                <c:pt idx="11">
                  <c:v>1.0415441497569071</c:v>
                </c:pt>
                <c:pt idx="12">
                  <c:v>1.074096577264705</c:v>
                </c:pt>
                <c:pt idx="13">
                  <c:v>1.08197814302693</c:v>
                </c:pt>
                <c:pt idx="14">
                  <c:v>1.0495912342454865</c:v>
                </c:pt>
                <c:pt idx="15">
                  <c:v>1.0560302286890562</c:v>
                </c:pt>
                <c:pt idx="16">
                  <c:v>1.0466464880767163</c:v>
                </c:pt>
                <c:pt idx="17">
                  <c:v>1.0681145394512126</c:v>
                </c:pt>
                <c:pt idx="18">
                  <c:v>1.0617723248598026</c:v>
                </c:pt>
                <c:pt idx="19">
                  <c:v>1.0638920454545455</c:v>
                </c:pt>
                <c:pt idx="20">
                  <c:v>1.0593622795115332</c:v>
                </c:pt>
                <c:pt idx="21">
                  <c:v>1.0663204495147283</c:v>
                </c:pt>
                <c:pt idx="22">
                  <c:v>1.070123527721919</c:v>
                </c:pt>
                <c:pt idx="23">
                  <c:v>1.0589322265180805</c:v>
                </c:pt>
                <c:pt idx="24">
                  <c:v>1.0645680861284579</c:v>
                </c:pt>
                <c:pt idx="25">
                  <c:v>1.0576950324463714</c:v>
                </c:pt>
                <c:pt idx="26">
                  <c:v>1.047671279109011</c:v>
                </c:pt>
                <c:pt idx="27">
                  <c:v>1.075623976792946</c:v>
                </c:pt>
                <c:pt idx="28">
                  <c:v>1.0632111970869367</c:v>
                </c:pt>
                <c:pt idx="29">
                  <c:v>1.0742888308407728</c:v>
                </c:pt>
                <c:pt idx="30">
                  <c:v>1.0812688464494769</c:v>
                </c:pt>
                <c:pt idx="31">
                  <c:v>1.077273668945515</c:v>
                </c:pt>
                <c:pt idx="32">
                  <c:v>1.0678428839830907</c:v>
                </c:pt>
                <c:pt idx="33">
                  <c:v>1.0489830409697534</c:v>
                </c:pt>
                <c:pt idx="34">
                  <c:v>1.0604540578155353</c:v>
                </c:pt>
                <c:pt idx="35">
                  <c:v>1.092445711909218</c:v>
                </c:pt>
                <c:pt idx="36">
                  <c:v>1.0926079980985204</c:v>
                </c:pt>
                <c:pt idx="37">
                  <c:v>1.1043069041520224</c:v>
                </c:pt>
                <c:pt idx="38">
                  <c:v>1.094976336752991</c:v>
                </c:pt>
                <c:pt idx="39">
                  <c:v>1.0662082571735283</c:v>
                </c:pt>
                <c:pt idx="40">
                  <c:v>1.0820209219450512</c:v>
                </c:pt>
                <c:pt idx="41">
                  <c:v>1.0819508009153318</c:v>
                </c:pt>
                <c:pt idx="42">
                  <c:v>1.0795698924731183</c:v>
                </c:pt>
                <c:pt idx="43">
                  <c:v>1.0786678564232464</c:v>
                </c:pt>
                <c:pt idx="44">
                  <c:v>1.1338570781084756</c:v>
                </c:pt>
                <c:pt idx="45">
                  <c:v>1.1248094227377359</c:v>
                </c:pt>
                <c:pt idx="46">
                  <c:v>1.0983861046835184</c:v>
                </c:pt>
                <c:pt idx="47">
                  <c:v>1.0941148789741477</c:v>
                </c:pt>
                <c:pt idx="48">
                  <c:v>1.1332460653292338</c:v>
                </c:pt>
                <c:pt idx="49">
                  <c:v>1.1001333494969088</c:v>
                </c:pt>
                <c:pt idx="50">
                  <c:v>1.0260089951473548</c:v>
                </c:pt>
                <c:pt idx="51">
                  <c:v>1.0171033688453788</c:v>
                </c:pt>
                <c:pt idx="52">
                  <c:v>1.0045867687199257</c:v>
                </c:pt>
                <c:pt idx="53">
                  <c:v>0.675733470190745</c:v>
                </c:pt>
                <c:pt idx="54">
                  <c:v>0.6364359586316627</c:v>
                </c:pt>
                <c:pt idx="55">
                  <c:v>0.6595065808216055</c:v>
                </c:pt>
                <c:pt idx="56">
                  <c:v>0.7490348602708152</c:v>
                </c:pt>
                <c:pt idx="57">
                  <c:v>0.8186859943073447</c:v>
                </c:pt>
                <c:pt idx="58">
                  <c:v>0.8651247929802133</c:v>
                </c:pt>
                <c:pt idx="59">
                  <c:v>0.8541100890640969</c:v>
                </c:pt>
                <c:pt idx="60">
                  <c:v>0.8576800694243564</c:v>
                </c:pt>
                <c:pt idx="61">
                  <c:v>0.8508342922899885</c:v>
                </c:pt>
                <c:pt idx="62">
                  <c:v>0.8760504825538232</c:v>
                </c:pt>
                <c:pt idx="63">
                  <c:v>0.9558250060931026</c:v>
                </c:pt>
                <c:pt idx="64">
                  <c:v>0.982582183717209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0501628275223327</c:v>
                </c:pt>
                <c:pt idx="1">
                  <c:v>1.0278060853108166</c:v>
                </c:pt>
                <c:pt idx="2">
                  <c:v>1.0147837976414287</c:v>
                </c:pt>
                <c:pt idx="3">
                  <c:v>1.003618194348725</c:v>
                </c:pt>
                <c:pt idx="4">
                  <c:v>0.963416015403783</c:v>
                </c:pt>
                <c:pt idx="5">
                  <c:v>0.9682323189270594</c:v>
                </c:pt>
                <c:pt idx="6">
                  <c:v>1.0069306368232687</c:v>
                </c:pt>
                <c:pt idx="7">
                  <c:v>0.9590538660306102</c:v>
                </c:pt>
                <c:pt idx="8">
                  <c:v>0.9680817744369464</c:v>
                </c:pt>
                <c:pt idx="9">
                  <c:v>0.9683834337262587</c:v>
                </c:pt>
                <c:pt idx="10">
                  <c:v>0.9626492440230118</c:v>
                </c:pt>
                <c:pt idx="11">
                  <c:v>1.00639888310404</c:v>
                </c:pt>
                <c:pt idx="12">
                  <c:v>0.9862115010595374</c:v>
                </c:pt>
                <c:pt idx="13">
                  <c:v>1.0006946253364593</c:v>
                </c:pt>
                <c:pt idx="14">
                  <c:v>0.9548025843503231</c:v>
                </c:pt>
                <c:pt idx="15">
                  <c:v>0.982140289321561</c:v>
                </c:pt>
                <c:pt idx="16">
                  <c:v>0.979765677239294</c:v>
                </c:pt>
                <c:pt idx="17">
                  <c:v>0.9589983979113511</c:v>
                </c:pt>
                <c:pt idx="18">
                  <c:v>0.9509771645766618</c:v>
                </c:pt>
                <c:pt idx="19">
                  <c:v>0.9595793132378498</c:v>
                </c:pt>
                <c:pt idx="20">
                  <c:v>0.9584336288381378</c:v>
                </c:pt>
                <c:pt idx="21">
                  <c:v>0.9679122426233354</c:v>
                </c:pt>
                <c:pt idx="22">
                  <c:v>0.9825038880248833</c:v>
                </c:pt>
                <c:pt idx="23">
                  <c:v>0.9343063505859083</c:v>
                </c:pt>
                <c:pt idx="24">
                  <c:v>0.9494617224880383</c:v>
                </c:pt>
                <c:pt idx="25">
                  <c:v>0.9406408787852086</c:v>
                </c:pt>
                <c:pt idx="26">
                  <c:v>0.9395292804043134</c:v>
                </c:pt>
                <c:pt idx="27">
                  <c:v>0.8969634644499671</c:v>
                </c:pt>
                <c:pt idx="28">
                  <c:v>0.9038740300713413</c:v>
                </c:pt>
                <c:pt idx="29">
                  <c:v>0.8948577587429446</c:v>
                </c:pt>
                <c:pt idx="30">
                  <c:v>0.9193099290983724</c:v>
                </c:pt>
                <c:pt idx="31">
                  <c:v>0.9257082402727166</c:v>
                </c:pt>
                <c:pt idx="32">
                  <c:v>0.9508143514693733</c:v>
                </c:pt>
                <c:pt idx="33">
                  <c:v>0.9539502852244849</c:v>
                </c:pt>
                <c:pt idx="34">
                  <c:v>0.9391086924547727</c:v>
                </c:pt>
                <c:pt idx="35">
                  <c:v>0.9295660524578357</c:v>
                </c:pt>
                <c:pt idx="36">
                  <c:v>0.844837613639842</c:v>
                </c:pt>
                <c:pt idx="37">
                  <c:v>0.8523290689845137</c:v>
                </c:pt>
                <c:pt idx="38">
                  <c:v>0.9113054900438845</c:v>
                </c:pt>
                <c:pt idx="39">
                  <c:v>1.0132101161679075</c:v>
                </c:pt>
                <c:pt idx="40">
                  <c:v>0.9303309789270912</c:v>
                </c:pt>
                <c:pt idx="41">
                  <c:v>0.8646612115146877</c:v>
                </c:pt>
                <c:pt idx="42">
                  <c:v>0.912341948543433</c:v>
                </c:pt>
                <c:pt idx="43">
                  <c:v>0.9303173051284329</c:v>
                </c:pt>
                <c:pt idx="44">
                  <c:v>0.9291651716301879</c:v>
                </c:pt>
                <c:pt idx="45">
                  <c:v>0.8224646157445316</c:v>
                </c:pt>
                <c:pt idx="46">
                  <c:v>0.8000698242755732</c:v>
                </c:pt>
                <c:pt idx="47">
                  <c:v>0.7963170766796145</c:v>
                </c:pt>
                <c:pt idx="48">
                  <c:v>0.809866158961098</c:v>
                </c:pt>
                <c:pt idx="49">
                  <c:v>0.8361155933695174</c:v>
                </c:pt>
                <c:pt idx="50">
                  <c:v>0.9098679574767929</c:v>
                </c:pt>
                <c:pt idx="51">
                  <c:v>0.904013488694186</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0.841115485271437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0.8411154852714372</c:v>
                </c:pt>
                <c:pt idx="1">
                  <c:v>0.841115485271437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8520424238916678</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8520424238916678</c:v>
                </c:pt>
                <c:pt idx="1">
                  <c:v>0.8520424238916678</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8520424238916677</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8520424238916677</c:v>
                </c:pt>
                <c:pt idx="1">
                  <c:v>0.8520424238916677</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0501628275223327</c:v>
                </c:pt>
                <c:pt idx="1">
                  <c:v>1.0278060853108166</c:v>
                </c:pt>
                <c:pt idx="2">
                  <c:v>1.0147837976414287</c:v>
                </c:pt>
                <c:pt idx="3">
                  <c:v>1.003618194348725</c:v>
                </c:pt>
                <c:pt idx="4">
                  <c:v>0.963416015403783</c:v>
                </c:pt>
                <c:pt idx="5">
                  <c:v>0.9682323189270594</c:v>
                </c:pt>
                <c:pt idx="6">
                  <c:v>1.0069306368232687</c:v>
                </c:pt>
                <c:pt idx="7">
                  <c:v>0.9590538660306102</c:v>
                </c:pt>
                <c:pt idx="8">
                  <c:v>0.9680817744369464</c:v>
                </c:pt>
                <c:pt idx="9">
                  <c:v>0.9683834337262587</c:v>
                </c:pt>
                <c:pt idx="10">
                  <c:v>0.9626492440230118</c:v>
                </c:pt>
                <c:pt idx="11">
                  <c:v>1.00639888310404</c:v>
                </c:pt>
                <c:pt idx="12">
                  <c:v>0.9862115010595374</c:v>
                </c:pt>
                <c:pt idx="13">
                  <c:v>1.0006946253364593</c:v>
                </c:pt>
                <c:pt idx="14">
                  <c:v>0.9548025843503231</c:v>
                </c:pt>
                <c:pt idx="15">
                  <c:v>0.982140289321561</c:v>
                </c:pt>
                <c:pt idx="16">
                  <c:v>0.979765677239294</c:v>
                </c:pt>
                <c:pt idx="17">
                  <c:v>0.9589983979113511</c:v>
                </c:pt>
                <c:pt idx="18">
                  <c:v>0.9509771645766618</c:v>
                </c:pt>
                <c:pt idx="19">
                  <c:v>0.9595793132378498</c:v>
                </c:pt>
                <c:pt idx="20">
                  <c:v>0.9584336288381378</c:v>
                </c:pt>
                <c:pt idx="21">
                  <c:v>0.9679122426233354</c:v>
                </c:pt>
                <c:pt idx="22">
                  <c:v>0.9825038880248833</c:v>
                </c:pt>
                <c:pt idx="23">
                  <c:v>0.9343063505859083</c:v>
                </c:pt>
                <c:pt idx="24">
                  <c:v>0.9494617224880383</c:v>
                </c:pt>
                <c:pt idx="25">
                  <c:v>0.9406408787852086</c:v>
                </c:pt>
                <c:pt idx="26">
                  <c:v>0.9395292804043134</c:v>
                </c:pt>
                <c:pt idx="27">
                  <c:v>0.8969634644499671</c:v>
                </c:pt>
                <c:pt idx="28">
                  <c:v>0.9038740300713413</c:v>
                </c:pt>
                <c:pt idx="29">
                  <c:v>0.8948577587429446</c:v>
                </c:pt>
                <c:pt idx="30">
                  <c:v>0.9193099290983724</c:v>
                </c:pt>
                <c:pt idx="31">
                  <c:v>0.9257082402727166</c:v>
                </c:pt>
                <c:pt idx="32">
                  <c:v>0.9508143514693733</c:v>
                </c:pt>
                <c:pt idx="33">
                  <c:v>0.9539502852244849</c:v>
                </c:pt>
                <c:pt idx="34">
                  <c:v>0.9391086924547727</c:v>
                </c:pt>
                <c:pt idx="35">
                  <c:v>0.9295660524578357</c:v>
                </c:pt>
                <c:pt idx="36">
                  <c:v>0.844837613639842</c:v>
                </c:pt>
                <c:pt idx="37">
                  <c:v>0.8523290689845137</c:v>
                </c:pt>
                <c:pt idx="38">
                  <c:v>0.9113054900438845</c:v>
                </c:pt>
                <c:pt idx="39">
                  <c:v>1.0132101161679075</c:v>
                </c:pt>
                <c:pt idx="40">
                  <c:v>0.9303309789270912</c:v>
                </c:pt>
                <c:pt idx="41">
                  <c:v>0.8646612115146877</c:v>
                </c:pt>
                <c:pt idx="42">
                  <c:v>0.912341948543433</c:v>
                </c:pt>
                <c:pt idx="43">
                  <c:v>0.9303173051284329</c:v>
                </c:pt>
                <c:pt idx="44">
                  <c:v>0.9291651716301879</c:v>
                </c:pt>
                <c:pt idx="45">
                  <c:v>0.8224646157445316</c:v>
                </c:pt>
                <c:pt idx="46">
                  <c:v>0.8000698242755732</c:v>
                </c:pt>
                <c:pt idx="47">
                  <c:v>0.7963170766796145</c:v>
                </c:pt>
                <c:pt idx="48">
                  <c:v>0.809866158961098</c:v>
                </c:pt>
                <c:pt idx="49">
                  <c:v>0.8361155933695174</c:v>
                </c:pt>
                <c:pt idx="50">
                  <c:v>0.9098679574767929</c:v>
                </c:pt>
                <c:pt idx="51">
                  <c:v>0.904013488694186</c:v>
                </c:pt>
                <c:pt idx="52">
                  <c:v>0.8520424238916678</c:v>
                </c:pt>
                <c:pt idx="53">
                  <c:v>0.8411154852714372</c:v>
                </c:pt>
                <c:pt idx="54">
                  <c:v>0.8520424238916677</c:v>
                </c:pt>
              </c:numCache>
            </c:numRef>
          </c:xVal>
          <c:yVal>
            <c:numRef>
              <c:f>Sheet1!$B$147:$B$201</c:f>
              <c:numCache>
                <c:formatCode>General</c:formatCode>
                <c:ptCount val="55"/>
                <c:pt idx="0">
                  <c:v>0.001132601505273628</c:v>
                </c:pt>
                <c:pt idx="1">
                  <c:v>0.001188225507974198</c:v>
                </c:pt>
                <c:pt idx="2">
                  <c:v>0.0012206252090414009</c:v>
                </c:pt>
                <c:pt idx="3">
                  <c:v>0.0012484054438283332</c:v>
                </c:pt>
                <c:pt idx="4">
                  <c:v>0.0013484292348192395</c:v>
                </c:pt>
                <c:pt idx="5">
                  <c:v>0.0013364461794325966</c:v>
                </c:pt>
                <c:pt idx="6">
                  <c:v>0.0012401640235262918</c:v>
                </c:pt>
                <c:pt idx="7">
                  <c:v>0.001359282345984455</c:v>
                </c:pt>
                <c:pt idx="8">
                  <c:v>0.0013368207370065659</c:v>
                </c:pt>
                <c:pt idx="9">
                  <c:v>0.0013360702029187005</c:v>
                </c:pt>
                <c:pt idx="10">
                  <c:v>0.0013503369766964422</c:v>
                </c:pt>
                <c:pt idx="11">
                  <c:v>0.0012414870369615487</c:v>
                </c:pt>
                <c:pt idx="12">
                  <c:v>0.0012917136300285136</c:v>
                </c:pt>
                <c:pt idx="13">
                  <c:v>0.0012556793395102277</c:v>
                </c:pt>
                <c:pt idx="14">
                  <c:v>0.001369859616206919</c:v>
                </c:pt>
                <c:pt idx="15">
                  <c:v>0.0013018428827865983</c:v>
                </c:pt>
                <c:pt idx="16">
                  <c:v>0.0013077509631154393</c:v>
                </c:pt>
                <c:pt idx="17">
                  <c:v>0.0013594203517272537</c:v>
                </c:pt>
                <c:pt idx="18">
                  <c:v>0.0013793773338514575</c:v>
                </c:pt>
                <c:pt idx="19">
                  <c:v>0.0013579750232717812</c:v>
                </c:pt>
                <c:pt idx="20">
                  <c:v>0.00136082550799539</c:v>
                </c:pt>
                <c:pt idx="21">
                  <c:v>0.0013372425354049602</c:v>
                </c:pt>
                <c:pt idx="22">
                  <c:v>0.001300938242250684</c:v>
                </c:pt>
                <c:pt idx="23">
                  <c:v>0.0014208546382667997</c:v>
                </c:pt>
                <c:pt idx="24">
                  <c:v>0.0013831477827850563</c:v>
                </c:pt>
                <c:pt idx="25">
                  <c:v>0.0014050942108158257</c:v>
                </c:pt>
                <c:pt idx="26">
                  <c:v>0.0014078598888719522</c:v>
                </c:pt>
                <c:pt idx="27">
                  <c:v>0.0015137644540002704</c:v>
                </c:pt>
                <c:pt idx="28">
                  <c:v>0.0014965708344134338</c:v>
                </c:pt>
                <c:pt idx="29">
                  <c:v>0.0015190034901185869</c:v>
                </c:pt>
                <c:pt idx="30">
                  <c:v>0.0014581660220735109</c:v>
                </c:pt>
                <c:pt idx="31">
                  <c:v>0.001442246901359336</c:v>
                </c:pt>
                <c:pt idx="32">
                  <c:v>0.0013797824159798742</c:v>
                </c:pt>
                <c:pt idx="33">
                  <c:v>0.0013719801527515012</c:v>
                </c:pt>
                <c:pt idx="34">
                  <c:v>0.0014089063197436661</c:v>
                </c:pt>
                <c:pt idx="35">
                  <c:v>0.001432648590774853</c:v>
                </c:pt>
                <c:pt idx="36">
                  <c:v>0.0016434545689016436</c:v>
                </c:pt>
                <c:pt idx="37">
                  <c:v>0.0016248156845605896</c:v>
                </c:pt>
                <c:pt idx="38">
                  <c:v>0.001478081219707003</c:v>
                </c:pt>
                <c:pt idx="39">
                  <c:v>0.0012245405586797705</c:v>
                </c:pt>
                <c:pt idx="40">
                  <c:v>0.001430745439072827</c:v>
                </c:pt>
                <c:pt idx="41">
                  <c:v>0.0015941330778143853</c:v>
                </c:pt>
                <c:pt idx="42">
                  <c:v>0.001475502491114417</c:v>
                </c:pt>
                <c:pt idx="43">
                  <c:v>0.0014307794597457095</c:v>
                </c:pt>
                <c:pt idx="44">
                  <c:v>0.001433645989949953</c:v>
                </c:pt>
                <c:pt idx="45">
                  <c:v>0.0016991190160547515</c:v>
                </c:pt>
                <c:pt idx="46">
                  <c:v>0.0017548376860363909</c:v>
                </c:pt>
                <c:pt idx="47">
                  <c:v>0.0017641745939113063</c:v>
                </c:pt>
                <c:pt idx="48">
                  <c:v>0.0017304642177623487</c:v>
                </c:pt>
                <c:pt idx="49">
                  <c:v>0.0016651551223401074</c:v>
                </c:pt>
                <c:pt idx="50">
                  <c:v>0.0014816578282592489</c:v>
                </c:pt>
                <c:pt idx="51">
                  <c:v>0.001496223858689496</c:v>
                </c:pt>
                <c:pt idx="52">
                  <c:v>0.00162552886304016</c:v>
                </c:pt>
                <c:pt idx="53">
                  <c:v>0.00165271529555212</c:v>
                </c:pt>
                <c:pt idx="54">
                  <c:v>0.001625528863040160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6.1633</c:v>
                </c:pt>
                <c:pt idx="1">
                  <c:v>6.2364</c:v>
                </c:pt>
                <c:pt idx="2">
                  <c:v>6.2363</c:v>
                </c:pt>
                <c:pt idx="3">
                  <c:v>6.6039</c:v>
                </c:pt>
                <c:pt idx="4">
                  <c:v>6.5503</c:v>
                </c:pt>
                <c:pt idx="5">
                  <c:v>6.6107</c:v>
                </c:pt>
                <c:pt idx="6">
                  <c:v>6.3437</c:v>
                </c:pt>
                <c:pt idx="7">
                  <c:v>6.1226</c:v>
                </c:pt>
                <c:pt idx="8">
                  <c:v>6.0897</c:v>
                </c:pt>
                <c:pt idx="9">
                  <c:v>6.1336</c:v>
                </c:pt>
                <c:pt idx="10">
                  <c:v>6.1499</c:v>
                </c:pt>
                <c:pt idx="11">
                  <c:v>5.5711</c:v>
                </c:pt>
                <c:pt idx="12">
                  <c:v>5.5859</c:v>
                </c:pt>
                <c:pt idx="13">
                  <c:v>5.6385</c:v>
                </c:pt>
                <c:pt idx="14">
                  <c:v>5.4916</c:v>
                </c:pt>
                <c:pt idx="15">
                  <c:v>4.5276</c:v>
                </c:pt>
                <c:pt idx="16">
                  <c:v>4.4282</c:v>
                </c:pt>
                <c:pt idx="17">
                  <c:v>4.4034</c:v>
                </c:pt>
                <c:pt idx="18">
                  <c:v>4.8193</c:v>
                </c:pt>
                <c:pt idx="19">
                  <c:v>4.6875</c:v>
                </c:pt>
                <c:pt idx="20">
                  <c:v>5.5766</c:v>
                </c:pt>
                <c:pt idx="21">
                  <c:v>5.5635</c:v>
                </c:pt>
                <c:pt idx="22">
                  <c:v>3.7974</c:v>
                </c:pt>
                <c:pt idx="23">
                  <c:v>2.4646</c:v>
                </c:pt>
                <c:pt idx="24">
                  <c:v>2.515</c:v>
                </c:pt>
                <c:pt idx="25">
                  <c:v>2.5018</c:v>
                </c:pt>
                <c:pt idx="26">
                  <c:v>2.6266</c:v>
                </c:pt>
                <c:pt idx="27">
                  <c:v>2.5777</c:v>
                </c:pt>
                <c:pt idx="28">
                  <c:v>2.5714</c:v>
                </c:pt>
                <c:pt idx="29">
                  <c:v>2.5557</c:v>
                </c:pt>
                <c:pt idx="30">
                  <c:v>1.6866</c:v>
                </c:pt>
                <c:pt idx="31">
                  <c:v>1.5759</c:v>
                </c:pt>
                <c:pt idx="32">
                  <c:v>1.6161</c:v>
                </c:pt>
                <c:pt idx="33">
                  <c:v>1.6584</c:v>
                </c:pt>
                <c:pt idx="34">
                  <c:v>1.6834</c:v>
                </c:pt>
                <c:pt idx="35">
                  <c:v>1.7336</c:v>
                </c:pt>
                <c:pt idx="36">
                  <c:v>1.7648</c:v>
                </c:pt>
                <c:pt idx="37">
                  <c:v>1.7805</c:v>
                </c:pt>
                <c:pt idx="38">
                  <c:v>1.9209</c:v>
                </c:pt>
                <c:pt idx="39">
                  <c:v>2.2132</c:v>
                </c:pt>
                <c:pt idx="40">
                  <c:v>2.5723</c:v>
                </c:pt>
                <c:pt idx="41">
                  <c:v>2.7003</c:v>
                </c:pt>
                <c:pt idx="42">
                  <c:v>2.9387</c:v>
                </c:pt>
                <c:pt idx="43">
                  <c:v>3.0726</c:v>
                </c:pt>
                <c:pt idx="44">
                  <c:v>3.9493</c:v>
                </c:pt>
                <c:pt idx="45">
                  <c:v>4.9284</c:v>
                </c:pt>
                <c:pt idx="46">
                  <c:v>5.4208</c:v>
                </c:pt>
                <c:pt idx="47">
                  <c:v>5.6012</c:v>
                </c:pt>
                <c:pt idx="48">
                  <c:v>5.7808</c:v>
                </c:pt>
                <c:pt idx="49">
                  <c:v>5.5629</c:v>
                </c:pt>
                <c:pt idx="50">
                  <c:v>4.8801</c:v>
                </c:pt>
                <c:pt idx="51">
                  <c:v>4.1651</c:v>
                </c:pt>
                <c:pt idx="52">
                  <c:v>2.9119</c:v>
                </c:pt>
                <c:pt idx="53">
                  <c:v>2.2</c:v>
                </c:pt>
                <c:pt idx="54">
                  <c:v>1.9646</c:v>
                </c:pt>
                <c:pt idx="55">
                  <c:v>2.2865</c:v>
                </c:pt>
                <c:pt idx="56">
                  <c:v>2.9366</c:v>
                </c:pt>
                <c:pt idx="57">
                  <c:v>3.2887</c:v>
                </c:pt>
                <c:pt idx="58">
                  <c:v>3.5969</c:v>
                </c:pt>
                <c:pt idx="59">
                  <c:v>3.46</c:v>
                </c:pt>
                <c:pt idx="60">
                  <c:v>3.5257</c:v>
                </c:pt>
                <c:pt idx="61">
                  <c:v>3.5097</c:v>
                </c:pt>
                <c:pt idx="62">
                  <c:v>3.6341</c:v>
                </c:pt>
                <c:pt idx="63">
                  <c:v>3.9323</c:v>
                </c:pt>
                <c:pt idx="64">
                  <c:v>4.1322</c:v>
                </c:pt>
              </c:numCache>
            </c:numRef>
          </c:xVal>
          <c:yVal>
            <c:numRef>
              <c:f>Sheet1!$B$2:$B$66</c:f>
              <c:numCache>
                <c:formatCode>General</c:formatCode>
                <c:ptCount val="65"/>
                <c:pt idx="0">
                  <c:v>0.00025169856843233437</c:v>
                </c:pt>
                <c:pt idx="1">
                  <c:v>0.0002512943589646523</c:v>
                </c:pt>
                <c:pt idx="2">
                  <c:v>0.0002817635819380148</c:v>
                </c:pt>
                <c:pt idx="3">
                  <c:v>0.0003645575147257668</c:v>
                </c:pt>
                <c:pt idx="4">
                  <c:v>0.0003407757727642692</c:v>
                </c:pt>
                <c:pt idx="5">
                  <c:v>0.00040127864190352803</c:v>
                </c:pt>
                <c:pt idx="6">
                  <c:v>0.0004110088225398057</c:v>
                </c:pt>
                <c:pt idx="7">
                  <c:v>0.0004199366565845849</c:v>
                </c:pt>
                <c:pt idx="8">
                  <c:v>0.0004512962751409906</c:v>
                </c:pt>
                <c:pt idx="9">
                  <c:v>0.00043021258689989074</c:v>
                </c:pt>
                <c:pt idx="10">
                  <c:v>0.0004584936127384747</c:v>
                </c:pt>
                <c:pt idx="11">
                  <c:v>0.0009062173434160113</c:v>
                </c:pt>
                <c:pt idx="12">
                  <c:v>0.001250137066808541</c:v>
                </c:pt>
                <c:pt idx="13">
                  <c:v>0.0011351215706445542</c:v>
                </c:pt>
                <c:pt idx="14">
                  <c:v>0.0013582836464554843</c:v>
                </c:pt>
                <c:pt idx="15">
                  <c:v>0.00230325175456603</c:v>
                </c:pt>
                <c:pt idx="16">
                  <c:v>0.004607305368925736</c:v>
                </c:pt>
                <c:pt idx="17">
                  <c:v>0.0038465943849554643</c:v>
                </c:pt>
                <c:pt idx="18">
                  <c:v>0.0014302044394166953</c:v>
                </c:pt>
                <c:pt idx="19">
                  <c:v>0.0015654141276831412</c:v>
                </c:pt>
                <c:pt idx="20">
                  <c:v>0.0009209689181262308</c:v>
                </c:pt>
                <c:pt idx="21">
                  <c:v>0.0009138533866447325</c:v>
                </c:pt>
                <c:pt idx="22">
                  <c:v>0.0016835714655997933</c:v>
                </c:pt>
                <c:pt idx="23">
                  <c:v>0.005027466215968235</c:v>
                </c:pt>
                <c:pt idx="24">
                  <c:v>0.003912497333791379</c:v>
                </c:pt>
                <c:pt idx="25">
                  <c:v>0.0034647822374988192</c:v>
                </c:pt>
                <c:pt idx="26">
                  <c:v>0.003080506675239803</c:v>
                </c:pt>
                <c:pt idx="27">
                  <c:v>0.00331104794980734</c:v>
                </c:pt>
                <c:pt idx="28">
                  <c:v>0.0032992612836643615</c:v>
                </c:pt>
                <c:pt idx="29">
                  <c:v>0.003206661578490768</c:v>
                </c:pt>
                <c:pt idx="30">
                  <c:v>0.008444101714683523</c:v>
                </c:pt>
                <c:pt idx="31">
                  <c:v>0.01045613155234456</c:v>
                </c:pt>
                <c:pt idx="32">
                  <c:v>0.008642827123329287</c:v>
                </c:pt>
                <c:pt idx="33">
                  <c:v>0.008191607713027621</c:v>
                </c:pt>
                <c:pt idx="34">
                  <c:v>0.007123008739479349</c:v>
                </c:pt>
                <c:pt idx="35">
                  <c:v>0.006187627175890737</c:v>
                </c:pt>
                <c:pt idx="36">
                  <c:v>0.0060207396721191275</c:v>
                </c:pt>
                <c:pt idx="37">
                  <c:v>0.0055272371609971956</c:v>
                </c:pt>
                <c:pt idx="38">
                  <c:v>0.0043457383441955055</c:v>
                </c:pt>
                <c:pt idx="39">
                  <c:v>0.003131102375102575</c:v>
                </c:pt>
                <c:pt idx="40">
                  <c:v>0.0027102212367121356</c:v>
                </c:pt>
                <c:pt idx="41">
                  <c:v>0.0026123222246677838</c:v>
                </c:pt>
                <c:pt idx="42">
                  <c:v>0.002397428396581059</c:v>
                </c:pt>
                <c:pt idx="43">
                  <c:v>0.0020709499247944132</c:v>
                </c:pt>
                <c:pt idx="44">
                  <c:v>0.0014917994402196824</c:v>
                </c:pt>
                <c:pt idx="45">
                  <c:v>0.0011806592430695082</c:v>
                </c:pt>
                <c:pt idx="46">
                  <c:v>0.0012553100722937389</c:v>
                </c:pt>
                <c:pt idx="47">
                  <c:v>0.0010713625895517516</c:v>
                </c:pt>
                <c:pt idx="48">
                  <c:v>0.0012337344193924997</c:v>
                </c:pt>
                <c:pt idx="49">
                  <c:v>0.0018670160266174934</c:v>
                </c:pt>
                <c:pt idx="50">
                  <c:v>0.004153861583112723</c:v>
                </c:pt>
                <c:pt idx="51">
                  <c:v>0.0074422202043639574</c:v>
                </c:pt>
                <c:pt idx="52">
                  <c:v>0.0030098366857935557</c:v>
                </c:pt>
                <c:pt idx="53">
                  <c:v>0.0034836267739669965</c:v>
                </c:pt>
                <c:pt idx="54">
                  <c:v>0.0031267157987984644</c:v>
                </c:pt>
                <c:pt idx="55">
                  <c:v>0.001741120758750559</c:v>
                </c:pt>
                <c:pt idx="56">
                  <c:v>0.0008685389233576308</c:v>
                </c:pt>
                <c:pt idx="57">
                  <c:v>0.0006266513689946652</c:v>
                </c:pt>
                <c:pt idx="58">
                  <c:v>0.0005244184931213355</c:v>
                </c:pt>
                <c:pt idx="59">
                  <c:v>0.0004903991859348575</c:v>
                </c:pt>
                <c:pt idx="60">
                  <c:v>0.0005227437626571926</c:v>
                </c:pt>
                <c:pt idx="61">
                  <c:v>0.0005407829150759933</c:v>
                </c:pt>
                <c:pt idx="62">
                  <c:v>0.0005456847419927114</c:v>
                </c:pt>
                <c:pt idx="63">
                  <c:v>0.0005440511620758935</c:v>
                </c:pt>
                <c:pt idx="64">
                  <c:v>0.0005021781609911435</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numCache>
            </c:numRef>
          </c:xVal>
          <c:yVal>
            <c:numRef>
              <c:f>Sheet1!$B$69:$B$120</c:f>
              <c:numCache>
                <c:formatCode>General</c:formatCode>
                <c:ptCount val="52"/>
                <c:pt idx="0">
                  <c:v>0.0004466321264430429</c:v>
                </c:pt>
                <c:pt idx="1">
                  <c:v>0.0004505615618932291</c:v>
                </c:pt>
                <c:pt idx="2">
                  <c:v>0.0004488890400383533</c:v>
                </c:pt>
                <c:pt idx="3">
                  <c:v>0.00045754735721914737</c:v>
                </c:pt>
                <c:pt idx="4">
                  <c:v>0.00045770149990467427</c:v>
                </c:pt>
                <c:pt idx="5">
                  <c:v>0.00047129313547788495</c:v>
                </c:pt>
                <c:pt idx="6">
                  <c:v>0.00043671175682614044</c:v>
                </c:pt>
                <c:pt idx="7">
                  <c:v>0.0004424703264756163</c:v>
                </c:pt>
                <c:pt idx="8">
                  <c:v>0.00048705686229181774</c:v>
                </c:pt>
                <c:pt idx="9">
                  <c:v>0.00047305806583931934</c:v>
                </c:pt>
                <c:pt idx="10">
                  <c:v>0.00048021487935472464</c:v>
                </c:pt>
                <c:pt idx="11">
                  <c:v>0.0004803987181798833</c:v>
                </c:pt>
                <c:pt idx="12">
                  <c:v>0.00046635363171705375</c:v>
                </c:pt>
                <c:pt idx="13">
                  <c:v>0.0004307875359127744</c:v>
                </c:pt>
                <c:pt idx="14">
                  <c:v>0.000501173698049064</c:v>
                </c:pt>
                <c:pt idx="15">
                  <c:v>0.0005156592680480115</c:v>
                </c:pt>
                <c:pt idx="16">
                  <c:v>0.00048775521094484686</c:v>
                </c:pt>
                <c:pt idx="17">
                  <c:v>0.00046796393861223053</c:v>
                </c:pt>
                <c:pt idx="18">
                  <c:v>0.0005156536505750391</c:v>
                </c:pt>
                <c:pt idx="19">
                  <c:v>0.0005077155887543242</c:v>
                </c:pt>
                <c:pt idx="20">
                  <c:v>0.00047997401392614185</c:v>
                </c:pt>
                <c:pt idx="21">
                  <c:v>0.000475612207706879</c:v>
                </c:pt>
                <c:pt idx="22">
                  <c:v>0.0004662005240351926</c:v>
                </c:pt>
                <c:pt idx="23">
                  <c:v>0.0005117929929759901</c:v>
                </c:pt>
                <c:pt idx="24">
                  <c:v>0.0004914709626257683</c:v>
                </c:pt>
                <c:pt idx="25">
                  <c:v>0.0005031454642666338</c:v>
                </c:pt>
                <c:pt idx="26">
                  <c:v>0.00047161562219030496</c:v>
                </c:pt>
                <c:pt idx="27">
                  <c:v>0.0005402227212175717</c:v>
                </c:pt>
                <c:pt idx="28">
                  <c:v>0.0005186484162253947</c:v>
                </c:pt>
                <c:pt idx="29">
                  <c:v>0.0005174548700368044</c:v>
                </c:pt>
                <c:pt idx="30">
                  <c:v>0.0004970532406472528</c:v>
                </c:pt>
                <c:pt idx="31">
                  <c:v>0.0005279915070244737</c:v>
                </c:pt>
                <c:pt idx="32">
                  <c:v>0.0006160221894140471</c:v>
                </c:pt>
                <c:pt idx="33">
                  <c:v>0.0012321297250096326</c:v>
                </c:pt>
                <c:pt idx="34">
                  <c:v>0.0007293519740510522</c:v>
                </c:pt>
                <c:pt idx="35">
                  <c:v>0.0006258699583438059</c:v>
                </c:pt>
                <c:pt idx="36">
                  <c:v>0.000670931573117526</c:v>
                </c:pt>
                <c:pt idx="37">
                  <c:v>0.0008251079961984899</c:v>
                </c:pt>
                <c:pt idx="38">
                  <c:v>0.000577434813036434</c:v>
                </c:pt>
                <c:pt idx="39">
                  <c:v>0.0005457504968339067</c:v>
                </c:pt>
                <c:pt idx="40">
                  <c:v>0.0006904553313355965</c:v>
                </c:pt>
                <c:pt idx="41">
                  <c:v>0.0007501038817599988</c:v>
                </c:pt>
                <c:pt idx="42">
                  <c:v>0.0007336307958138199</c:v>
                </c:pt>
                <c:pt idx="43">
                  <c:v>0.000708884753306174</c:v>
                </c:pt>
                <c:pt idx="44">
                  <c:v>0.0007413972808082386</c:v>
                </c:pt>
                <c:pt idx="45">
                  <c:v>0.0009198658259551028</c:v>
                </c:pt>
                <c:pt idx="46">
                  <c:v>0.0008736413200787414</c:v>
                </c:pt>
                <c:pt idx="47">
                  <c:v>0.0008043779607691231</c:v>
                </c:pt>
                <c:pt idx="48">
                  <c:v>0.0006622632496736924</c:v>
                </c:pt>
                <c:pt idx="49">
                  <c:v>0.0006752169305971774</c:v>
                </c:pt>
                <c:pt idx="50">
                  <c:v>0.0006201012267633997</c:v>
                </c:pt>
                <c:pt idx="51">
                  <c:v>0.0006327775857746108</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0.803487560271728</c:v>
                </c:pt>
              </c:numCache>
            </c:numRef>
          </c:xVal>
          <c:yVal>
            <c:numRef>
              <c:f>Sheet1!$B$123:$B$124</c:f>
              <c:numCache>
                <c:formatCode>General</c:formatCode>
                <c:ptCount val="2"/>
                <c:pt idx="0">
                  <c:v>0.0059196569674286525</c:v>
                </c:pt>
                <c:pt idx="1">
                  <c:v>0.005919656967428652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0.803487560271728</c:v>
                </c:pt>
                <c:pt idx="1">
                  <c:v>-10.803487560271728</c:v>
                </c:pt>
              </c:numCache>
            </c:numRef>
          </c:xVal>
          <c:yVal>
            <c:numRef>
              <c:f>Sheet1!$B$127:$B$128</c:f>
              <c:numCache>
                <c:formatCode>General</c:formatCode>
                <c:ptCount val="2"/>
                <c:pt idx="0">
                  <c:v>0.005919656967428652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3.5024712228992327</c:v>
                </c:pt>
              </c:numCache>
            </c:numRef>
          </c:xVal>
          <c:yVal>
            <c:numRef>
              <c:f>Sheet1!$B$131:$B$132</c:f>
              <c:numCache>
                <c:formatCode>General</c:formatCode>
                <c:ptCount val="2"/>
                <c:pt idx="0">
                  <c:v>0.0007198820491899679</c:v>
                </c:pt>
                <c:pt idx="1">
                  <c:v>0.0007198820491899679</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3.5024712228992327</c:v>
                </c:pt>
                <c:pt idx="1">
                  <c:v>3.5024712228992327</c:v>
                </c:pt>
              </c:numCache>
            </c:numRef>
          </c:xVal>
          <c:yVal>
            <c:numRef>
              <c:f>Sheet1!$B$135:$B$136</c:f>
              <c:numCache>
                <c:formatCode>General</c:formatCode>
                <c:ptCount val="2"/>
                <c:pt idx="0">
                  <c:v>0.0007198820491899679</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3.5024712228992327</c:v>
                </c:pt>
              </c:numCache>
            </c:numRef>
          </c:xVal>
          <c:yVal>
            <c:numRef>
              <c:f>Sheet1!$B$139:$B$140</c:f>
              <c:numCache>
                <c:formatCode>General</c:formatCode>
                <c:ptCount val="2"/>
                <c:pt idx="0">
                  <c:v>0.0007198820491899678</c:v>
                </c:pt>
                <c:pt idx="1">
                  <c:v>0.0007198820491899678</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3.5024712228992327</c:v>
                </c:pt>
                <c:pt idx="1">
                  <c:v>3.5024712228992327</c:v>
                </c:pt>
              </c:numCache>
            </c:numRef>
          </c:xVal>
          <c:yVal>
            <c:numRef>
              <c:f>Sheet1!$B$143:$B$144</c:f>
              <c:numCache>
                <c:formatCode>General</c:formatCode>
                <c:ptCount val="2"/>
                <c:pt idx="0">
                  <c:v>0.0007198820491899678</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4.2475</c:v>
                </c:pt>
                <c:pt idx="1">
                  <c:v>4.2822</c:v>
                </c:pt>
                <c:pt idx="2">
                  <c:v>4.3843</c:v>
                </c:pt>
                <c:pt idx="3">
                  <c:v>4.3889</c:v>
                </c:pt>
                <c:pt idx="4">
                  <c:v>4.3038</c:v>
                </c:pt>
                <c:pt idx="5">
                  <c:v>4.305</c:v>
                </c:pt>
                <c:pt idx="6">
                  <c:v>4.3944</c:v>
                </c:pt>
                <c:pt idx="7">
                  <c:v>4.1787</c:v>
                </c:pt>
                <c:pt idx="8">
                  <c:v>4.2</c:v>
                </c:pt>
                <c:pt idx="9">
                  <c:v>4.1681</c:v>
                </c:pt>
                <c:pt idx="10">
                  <c:v>4.1103</c:v>
                </c:pt>
                <c:pt idx="11">
                  <c:v>4.1735</c:v>
                </c:pt>
                <c:pt idx="12">
                  <c:v>4.1735</c:v>
                </c:pt>
                <c:pt idx="13">
                  <c:v>4.2453</c:v>
                </c:pt>
                <c:pt idx="14">
                  <c:v>3.9962</c:v>
                </c:pt>
                <c:pt idx="15">
                  <c:v>4.1813</c:v>
                </c:pt>
                <c:pt idx="16">
                  <c:v>4.0823</c:v>
                </c:pt>
                <c:pt idx="17">
                  <c:v>3.9938</c:v>
                </c:pt>
                <c:pt idx="18">
                  <c:v>3.9654</c:v>
                </c:pt>
                <c:pt idx="19">
                  <c:v>3.9893</c:v>
                </c:pt>
                <c:pt idx="20">
                  <c:v>4.0308</c:v>
                </c:pt>
                <c:pt idx="21">
                  <c:v>4.0665</c:v>
                </c:pt>
                <c:pt idx="22">
                  <c:v>4.0867</c:v>
                </c:pt>
                <c:pt idx="23">
                  <c:v>3.8694</c:v>
                </c:pt>
                <c:pt idx="24">
                  <c:v>4.0422</c:v>
                </c:pt>
                <c:pt idx="25">
                  <c:v>3.9792</c:v>
                </c:pt>
                <c:pt idx="26">
                  <c:v>3.9837</c:v>
                </c:pt>
                <c:pt idx="27">
                  <c:v>3.8337</c:v>
                </c:pt>
                <c:pt idx="28">
                  <c:v>3.9426</c:v>
                </c:pt>
                <c:pt idx="29">
                  <c:v>3.8935</c:v>
                </c:pt>
                <c:pt idx="30">
                  <c:v>3.8689</c:v>
                </c:pt>
                <c:pt idx="31">
                  <c:v>3.7827</c:v>
                </c:pt>
                <c:pt idx="32">
                  <c:v>3.7007</c:v>
                </c:pt>
                <c:pt idx="33">
                  <c:v>2.3925</c:v>
                </c:pt>
                <c:pt idx="34">
                  <c:v>3.1707</c:v>
                </c:pt>
                <c:pt idx="35">
                  <c:v>3.4945</c:v>
                </c:pt>
                <c:pt idx="36">
                  <c:v>3.3616</c:v>
                </c:pt>
                <c:pt idx="37">
                  <c:v>3.1212</c:v>
                </c:pt>
                <c:pt idx="38">
                  <c:v>3.54</c:v>
                </c:pt>
                <c:pt idx="39">
                  <c:v>3.9896</c:v>
                </c:pt>
                <c:pt idx="40">
                  <c:v>3.3987</c:v>
                </c:pt>
                <c:pt idx="41">
                  <c:v>3.5273</c:v>
                </c:pt>
                <c:pt idx="42">
                  <c:v>3.8846</c:v>
                </c:pt>
                <c:pt idx="43">
                  <c:v>3.959</c:v>
                </c:pt>
                <c:pt idx="44">
                  <c:v>3.8921</c:v>
                </c:pt>
                <c:pt idx="45">
                  <c:v>3.5891</c:v>
                </c:pt>
                <c:pt idx="46">
                  <c:v>3.5131</c:v>
                </c:pt>
                <c:pt idx="47">
                  <c:v>3.5726</c:v>
                </c:pt>
                <c:pt idx="48">
                  <c:v>3.6997</c:v>
                </c:pt>
                <c:pt idx="49">
                  <c:v>3.7219</c:v>
                </c:pt>
                <c:pt idx="50">
                  <c:v>3.8705</c:v>
                </c:pt>
                <c:pt idx="51">
                  <c:v>3.8671</c:v>
                </c:pt>
                <c:pt idx="52">
                  <c:v>3.5024712228992327</c:v>
                </c:pt>
                <c:pt idx="53">
                  <c:v>-10.803487560271728</c:v>
                </c:pt>
                <c:pt idx="54">
                  <c:v>3.5024712228992327</c:v>
                </c:pt>
              </c:numCache>
            </c:numRef>
          </c:xVal>
          <c:yVal>
            <c:numRef>
              <c:f>Sheet1!$B$147:$B$201</c:f>
              <c:numCache>
                <c:formatCode>General</c:formatCode>
                <c:ptCount val="55"/>
                <c:pt idx="0">
                  <c:v>0.0004490870603848956</c:v>
                </c:pt>
                <c:pt idx="1">
                  <c:v>0.0004364746802992534</c:v>
                </c:pt>
                <c:pt idx="2">
                  <c:v>0.00039936447837579333</c:v>
                </c:pt>
                <c:pt idx="3">
                  <c:v>0.00039769252020882074</c:v>
                </c:pt>
                <c:pt idx="4">
                  <c:v>0.00042862374629781624</c:v>
                </c:pt>
                <c:pt idx="5">
                  <c:v>0.0004281875832977363</c:v>
                </c:pt>
                <c:pt idx="6">
                  <c:v>0.00039569343979178797</c:v>
                </c:pt>
                <c:pt idx="7">
                  <c:v>0.0004740937390561397</c:v>
                </c:pt>
                <c:pt idx="8">
                  <c:v>0.0004663518458047223</c:v>
                </c:pt>
                <c:pt idx="9">
                  <c:v>0.0004779465122235116</c:v>
                </c:pt>
                <c:pt idx="10">
                  <c:v>0.0004989550300606908</c:v>
                </c:pt>
                <c:pt idx="11">
                  <c:v>0.0004759837787231525</c:v>
                </c:pt>
                <c:pt idx="12">
                  <c:v>0.0004759837787231525</c:v>
                </c:pt>
                <c:pt idx="13">
                  <c:v>0.0004498866925517083</c:v>
                </c:pt>
                <c:pt idx="14">
                  <c:v>0.000540426861984949</c:v>
                </c:pt>
                <c:pt idx="15">
                  <c:v>0.00047314871922263333</c:v>
                </c:pt>
                <c:pt idx="16">
                  <c:v>0.0005091321667292203</c:v>
                </c:pt>
                <c:pt idx="17">
                  <c:v>0.0005412991879851089</c:v>
                </c:pt>
                <c:pt idx="18">
                  <c:v>0.0005516217123203318</c:v>
                </c:pt>
                <c:pt idx="19">
                  <c:v>0.0005429347992354082</c:v>
                </c:pt>
                <c:pt idx="20">
                  <c:v>0.0005278508288159803</c:v>
                </c:pt>
                <c:pt idx="21">
                  <c:v>0.0005148749795636052</c:v>
                </c:pt>
                <c:pt idx="22">
                  <c:v>0.000507532902395594</c:v>
                </c:pt>
                <c:pt idx="23">
                  <c:v>0.0005865147523267189</c:v>
                </c:pt>
                <c:pt idx="24">
                  <c:v>0.0005237072803152218</c:v>
                </c:pt>
                <c:pt idx="25">
                  <c:v>0.0005466058378194134</c:v>
                </c:pt>
                <c:pt idx="26">
                  <c:v>0.0005449702265691143</c:v>
                </c:pt>
                <c:pt idx="27">
                  <c:v>0.0005994906015790945</c:v>
                </c:pt>
                <c:pt idx="28">
                  <c:v>0.0005599088093218487</c:v>
                </c:pt>
                <c:pt idx="29">
                  <c:v>0.0005777551454084488</c:v>
                </c:pt>
                <c:pt idx="30">
                  <c:v>0.0005866964869100857</c:v>
                </c:pt>
                <c:pt idx="31">
                  <c:v>0.0006180275290824876</c:v>
                </c:pt>
                <c:pt idx="32">
                  <c:v>0.0006478320007546104</c:v>
                </c:pt>
                <c:pt idx="33">
                  <c:v>0.0011233223646749855</c:v>
                </c:pt>
                <c:pt idx="34">
                  <c:v>0.0008404706591232075</c:v>
                </c:pt>
                <c:pt idx="35">
                  <c:v>0.0007227793429349966</c:v>
                </c:pt>
                <c:pt idx="36">
                  <c:v>0.000771084395193839</c:v>
                </c:pt>
                <c:pt idx="37">
                  <c:v>0.0008584623828765011</c:v>
                </c:pt>
                <c:pt idx="38">
                  <c:v>0.0007062414958486358</c:v>
                </c:pt>
                <c:pt idx="39">
                  <c:v>0.0005428257584853882</c:v>
                </c:pt>
                <c:pt idx="40">
                  <c:v>0.0007575996891080374</c:v>
                </c:pt>
                <c:pt idx="41">
                  <c:v>0.0007108575542661476</c:v>
                </c:pt>
                <c:pt idx="42">
                  <c:v>0.0005809900209923745</c:v>
                </c:pt>
                <c:pt idx="43">
                  <c:v>0.0005539479149874241</c:v>
                </c:pt>
                <c:pt idx="44">
                  <c:v>0.0005782640022418753</c:v>
                </c:pt>
                <c:pt idx="45">
                  <c:v>0.0006883951597620357</c:v>
                </c:pt>
                <c:pt idx="46">
                  <c:v>0.000716018816433759</c:v>
                </c:pt>
                <c:pt idx="47">
                  <c:v>0.0006943924010131336</c:v>
                </c:pt>
                <c:pt idx="48">
                  <c:v>0.0006481954699213434</c:v>
                </c:pt>
                <c:pt idx="49">
                  <c:v>0.0006401264544198663</c:v>
                </c:pt>
                <c:pt idx="50">
                  <c:v>0.0005861149362433127</c:v>
                </c:pt>
                <c:pt idx="51">
                  <c:v>0.0005873507314102053</c:v>
                </c:pt>
                <c:pt idx="52">
                  <c:v>0.0007198820491899679</c:v>
                </c:pt>
                <c:pt idx="53">
                  <c:v>0.005919656967428652</c:v>
                </c:pt>
                <c:pt idx="54">
                  <c:v>0.000719882049189967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8.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1254735786281347"/>
          <c:min val="0.0002010354871717218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7826</c:v>
                </c:pt>
                <c:pt idx="1">
                  <c:v>3.7926</c:v>
                </c:pt>
                <c:pt idx="2">
                  <c:v>3.7924</c:v>
                </c:pt>
                <c:pt idx="3">
                  <c:v>3.8198</c:v>
                </c:pt>
                <c:pt idx="4">
                  <c:v>3.8001</c:v>
                </c:pt>
                <c:pt idx="5">
                  <c:v>3.8375</c:v>
                </c:pt>
                <c:pt idx="6">
                  <c:v>3.7125</c:v>
                </c:pt>
                <c:pt idx="7">
                  <c:v>3.5325</c:v>
                </c:pt>
                <c:pt idx="8">
                  <c:v>3.5425</c:v>
                </c:pt>
                <c:pt idx="9">
                  <c:v>3.59</c:v>
                </c:pt>
                <c:pt idx="10">
                  <c:v>3.435</c:v>
                </c:pt>
                <c:pt idx="11">
                  <c:v>3.5776</c:v>
                </c:pt>
                <c:pt idx="12">
                  <c:v>3.7124</c:v>
                </c:pt>
                <c:pt idx="13">
                  <c:v>3.7325</c:v>
                </c:pt>
                <c:pt idx="14">
                  <c:v>3.6975</c:v>
                </c:pt>
                <c:pt idx="15">
                  <c:v>3.745</c:v>
                </c:pt>
                <c:pt idx="16">
                  <c:v>3.7</c:v>
                </c:pt>
                <c:pt idx="17">
                  <c:v>3.7525</c:v>
                </c:pt>
                <c:pt idx="18">
                  <c:v>3.7299</c:v>
                </c:pt>
                <c:pt idx="19">
                  <c:v>3.7449</c:v>
                </c:pt>
                <c:pt idx="20">
                  <c:v>3.7476</c:v>
                </c:pt>
                <c:pt idx="21">
                  <c:v>3.7575</c:v>
                </c:pt>
                <c:pt idx="22">
                  <c:v>3.7251</c:v>
                </c:pt>
                <c:pt idx="23">
                  <c:v>3.7249</c:v>
                </c:pt>
                <c:pt idx="24">
                  <c:v>3.7674</c:v>
                </c:pt>
                <c:pt idx="25">
                  <c:v>3.7325</c:v>
                </c:pt>
                <c:pt idx="26">
                  <c:v>3.7251</c:v>
                </c:pt>
                <c:pt idx="27">
                  <c:v>3.745</c:v>
                </c:pt>
                <c:pt idx="28">
                  <c:v>3.7374</c:v>
                </c:pt>
                <c:pt idx="29">
                  <c:v>3.7425</c:v>
                </c:pt>
                <c:pt idx="30">
                  <c:v>3.6575</c:v>
                </c:pt>
                <c:pt idx="31">
                  <c:v>3.64</c:v>
                </c:pt>
                <c:pt idx="32">
                  <c:v>3.6375</c:v>
                </c:pt>
                <c:pt idx="33">
                  <c:v>3.5999</c:v>
                </c:pt>
                <c:pt idx="34">
                  <c:v>3.6574</c:v>
                </c:pt>
                <c:pt idx="35">
                  <c:v>3.6775</c:v>
                </c:pt>
                <c:pt idx="36">
                  <c:v>3.6775</c:v>
                </c:pt>
                <c:pt idx="37">
                  <c:v>3.7076</c:v>
                </c:pt>
                <c:pt idx="38">
                  <c:v>3.725</c:v>
                </c:pt>
                <c:pt idx="39">
                  <c:v>3.6749</c:v>
                </c:pt>
                <c:pt idx="40">
                  <c:v>3.765</c:v>
                </c:pt>
                <c:pt idx="41">
                  <c:v>3.7825</c:v>
                </c:pt>
                <c:pt idx="42">
                  <c:v>3.765</c:v>
                </c:pt>
                <c:pt idx="43">
                  <c:v>3.7474</c:v>
                </c:pt>
                <c:pt idx="44">
                  <c:v>3.7525</c:v>
                </c:pt>
                <c:pt idx="45">
                  <c:v>3.7626</c:v>
                </c:pt>
                <c:pt idx="46">
                  <c:v>3.75</c:v>
                </c:pt>
                <c:pt idx="47">
                  <c:v>3.7201</c:v>
                </c:pt>
                <c:pt idx="48">
                  <c:v>3.7226</c:v>
                </c:pt>
                <c:pt idx="49">
                  <c:v>3.63</c:v>
                </c:pt>
                <c:pt idx="50">
                  <c:v>3.4675</c:v>
                </c:pt>
                <c:pt idx="51">
                  <c:v>3.5324</c:v>
                </c:pt>
                <c:pt idx="52">
                  <c:v>3.57</c:v>
                </c:pt>
                <c:pt idx="53">
                  <c:v>2.37</c:v>
                </c:pt>
                <c:pt idx="54">
                  <c:v>2.24</c:v>
                </c:pt>
                <c:pt idx="55">
                  <c:v>2.315</c:v>
                </c:pt>
                <c:pt idx="56">
                  <c:v>2.5999</c:v>
                </c:pt>
                <c:pt idx="57">
                  <c:v>2.79</c:v>
                </c:pt>
                <c:pt idx="58">
                  <c:v>2.9775</c:v>
                </c:pt>
                <c:pt idx="59">
                  <c:v>2.9249</c:v>
                </c:pt>
                <c:pt idx="60">
                  <c:v>2.965</c:v>
                </c:pt>
                <c:pt idx="61">
                  <c:v>2.9575</c:v>
                </c:pt>
                <c:pt idx="62">
                  <c:v>2.9501</c:v>
                </c:pt>
                <c:pt idx="63">
                  <c:v>3.1374</c:v>
                </c:pt>
                <c:pt idx="64">
                  <c:v>3.25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818909787836670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8189097878366702</c:v>
                </c:pt>
                <c:pt idx="1">
                  <c:v>2.818909787836670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862867557728453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8628675577284532</c:v>
                </c:pt>
                <c:pt idx="1">
                  <c:v>2.862867557728453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86286755772845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862867557728453</c:v>
                </c:pt>
                <c:pt idx="1">
                  <c:v>2.86286755772845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pt idx="52">
                  <c:v>2.8628675577284532</c:v>
                </c:pt>
                <c:pt idx="53">
                  <c:v>2.8189097878366702</c:v>
                </c:pt>
                <c:pt idx="54">
                  <c:v>2.862867557728453</c:v>
                </c:pt>
              </c:numCache>
            </c:numRef>
          </c:xVal>
          <c:yVal>
            <c:numRef>
              <c:f>Sheet1!$B$147:$B$201</c:f>
              <c:numCache>
                <c:formatCode>General</c:formatCode>
                <c:ptCount val="55"/>
                <c:pt idx="0">
                  <c:v>0.0012222064316629246</c:v>
                </c:pt>
                <c:pt idx="1">
                  <c:v>0.0012129294258302055</c:v>
                </c:pt>
                <c:pt idx="2">
                  <c:v>0.001192829246525981</c:v>
                </c:pt>
                <c:pt idx="3">
                  <c:v>0.0012345757727732169</c:v>
                </c:pt>
                <c:pt idx="4">
                  <c:v>0.0012918458221138698</c:v>
                </c:pt>
                <c:pt idx="5">
                  <c:v>0.001288691640130745</c:v>
                </c:pt>
                <c:pt idx="6">
                  <c:v>0.0012036524199974864</c:v>
                </c:pt>
                <c:pt idx="7">
                  <c:v>0.0013072456517961837</c:v>
                </c:pt>
                <c:pt idx="8">
                  <c:v>0.001293330143047105</c:v>
                </c:pt>
                <c:pt idx="9">
                  <c:v>0.0013180688252676896</c:v>
                </c:pt>
                <c:pt idx="10">
                  <c:v>0.0013366846836386794</c:v>
                </c:pt>
                <c:pt idx="11">
                  <c:v>0.0012561602730106767</c:v>
                </c:pt>
                <c:pt idx="12">
                  <c:v>0.001294938157391443</c:v>
                </c:pt>
                <c:pt idx="13">
                  <c:v>0.001257768287355015</c:v>
                </c:pt>
                <c:pt idx="14">
                  <c:v>0.0013396533255051494</c:v>
                </c:pt>
                <c:pt idx="15">
                  <c:v>0.001284053137214386</c:v>
                </c:pt>
                <c:pt idx="16">
                  <c:v>0.0013118223080069921</c:v>
                </c:pt>
                <c:pt idx="17">
                  <c:v>0.0013969852215513535</c:v>
                </c:pt>
                <c:pt idx="18">
                  <c:v>0.0014309390628991056</c:v>
                </c:pt>
                <c:pt idx="19">
                  <c:v>0.0014154773865112406</c:v>
                </c:pt>
                <c:pt idx="20">
                  <c:v>0.0013768231955415774</c:v>
                </c:pt>
                <c:pt idx="21">
                  <c:v>0.001355176848598566</c:v>
                </c:pt>
                <c:pt idx="22">
                  <c:v>0.001364392007725734</c:v>
                </c:pt>
                <c:pt idx="23">
                  <c:v>0.0014680470862299825</c:v>
                </c:pt>
                <c:pt idx="24">
                  <c:v>0.0014324852305378924</c:v>
                </c:pt>
                <c:pt idx="25">
                  <c:v>0.001415415539805689</c:v>
                </c:pt>
                <c:pt idx="26">
                  <c:v>0.0014185697217888138</c:v>
                </c:pt>
                <c:pt idx="27">
                  <c:v>0.0014541315774809038</c:v>
                </c:pt>
                <c:pt idx="28">
                  <c:v>0.0014293310485547681</c:v>
                </c:pt>
                <c:pt idx="29">
                  <c:v>0.0014448545716481847</c:v>
                </c:pt>
                <c:pt idx="30">
                  <c:v>0.001415415539805689</c:v>
                </c:pt>
                <c:pt idx="31">
                  <c:v>0.0014479469069257577</c:v>
                </c:pt>
                <c:pt idx="32">
                  <c:v>0.0014031080454009483</c:v>
                </c:pt>
                <c:pt idx="33">
                  <c:v>0.0014000157101233751</c:v>
                </c:pt>
                <c:pt idx="34">
                  <c:v>0.001421662057066387</c:v>
                </c:pt>
                <c:pt idx="35">
                  <c:v>0.0014804164273402747</c:v>
                </c:pt>
                <c:pt idx="36">
                  <c:v>0.001689149058576456</c:v>
                </c:pt>
                <c:pt idx="37">
                  <c:v>0.0016737492288941421</c:v>
                </c:pt>
                <c:pt idx="38">
                  <c:v>0.001508185598132881</c:v>
                </c:pt>
                <c:pt idx="39">
                  <c:v>0.0012330296051344305</c:v>
                </c:pt>
                <c:pt idx="40">
                  <c:v>0.0014247543923439597</c:v>
                </c:pt>
                <c:pt idx="41">
                  <c:v>0.001579309309517061</c:v>
                </c:pt>
                <c:pt idx="42">
                  <c:v>0.0014727474358518936</c:v>
                </c:pt>
                <c:pt idx="43">
                  <c:v>0.0014540697307753524</c:v>
                </c:pt>
                <c:pt idx="44">
                  <c:v>0.0014742317567851286</c:v>
                </c:pt>
                <c:pt idx="45">
                  <c:v>0.001656679538161939</c:v>
                </c:pt>
                <c:pt idx="46">
                  <c:v>0.0016953337291316021</c:v>
                </c:pt>
                <c:pt idx="47">
                  <c:v>0.0016844487089545449</c:v>
                </c:pt>
                <c:pt idx="48">
                  <c:v>0.001633487023580141</c:v>
                </c:pt>
                <c:pt idx="49">
                  <c:v>0.0016335488702856925</c:v>
                </c:pt>
                <c:pt idx="50">
                  <c:v>0.001559332823623939</c:v>
                </c:pt>
                <c:pt idx="51">
                  <c:v>0.0015391707976141627</c:v>
                </c:pt>
                <c:pt idx="52">
                  <c:v>0.0016255288630401602</c:v>
                </c:pt>
                <c:pt idx="53">
                  <c:v>0.00165271529555212</c:v>
                </c:pt>
                <c:pt idx="54">
                  <c:v>0.00162552886304016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386951436121822</c:v>
                </c:pt>
                <c:pt idx="1">
                  <c:v>1.641178761521485</c:v>
                </c:pt>
                <c:pt idx="2">
                  <c:v>1.6374784110535407</c:v>
                </c:pt>
                <c:pt idx="3">
                  <c:v>1.6464655172413794</c:v>
                </c:pt>
                <c:pt idx="4">
                  <c:v>1.638044743307901</c:v>
                </c:pt>
                <c:pt idx="5">
                  <c:v>1.655022210721525</c:v>
                </c:pt>
                <c:pt idx="6">
                  <c:v>1.600353478748168</c:v>
                </c:pt>
                <c:pt idx="7">
                  <c:v>1.5240745534558633</c:v>
                </c:pt>
                <c:pt idx="8">
                  <c:v>1.5291806958473624</c:v>
                </c:pt>
                <c:pt idx="9">
                  <c:v>1.5533056420906888</c:v>
                </c:pt>
                <c:pt idx="10">
                  <c:v>1.4925697401581646</c:v>
                </c:pt>
                <c:pt idx="11">
                  <c:v>1.5442655501359692</c:v>
                </c:pt>
                <c:pt idx="12">
                  <c:v>1.6063346458396435</c:v>
                </c:pt>
                <c:pt idx="13">
                  <c:v>1.6079352087192522</c:v>
                </c:pt>
                <c:pt idx="14">
                  <c:v>1.590322580645161</c:v>
                </c:pt>
                <c:pt idx="15">
                  <c:v>1.6177105831533478</c:v>
                </c:pt>
                <c:pt idx="16">
                  <c:v>1.5893470790378008</c:v>
                </c:pt>
                <c:pt idx="17">
                  <c:v>1.6134233382062084</c:v>
                </c:pt>
                <c:pt idx="18">
                  <c:v>1.6008841581183744</c:v>
                </c:pt>
                <c:pt idx="19">
                  <c:v>1.6079433233147271</c:v>
                </c:pt>
                <c:pt idx="20">
                  <c:v>1.6029770306685487</c:v>
                </c:pt>
                <c:pt idx="21">
                  <c:v>1.6066618206696028</c:v>
                </c:pt>
                <c:pt idx="22">
                  <c:v>1.6030898997288805</c:v>
                </c:pt>
                <c:pt idx="23">
                  <c:v>1.60625269512721</c:v>
                </c:pt>
                <c:pt idx="24">
                  <c:v>1.6108260646485377</c:v>
                </c:pt>
                <c:pt idx="25">
                  <c:v>1.5936552666410486</c:v>
                </c:pt>
                <c:pt idx="26">
                  <c:v>1.5900883595850943</c:v>
                </c:pt>
                <c:pt idx="27">
                  <c:v>1.6015908993713384</c:v>
                </c:pt>
                <c:pt idx="28">
                  <c:v>1.6008052426435944</c:v>
                </c:pt>
                <c:pt idx="29">
                  <c:v>1.607326919773235</c:v>
                </c:pt>
                <c:pt idx="30">
                  <c:v>1.5706188001889467</c:v>
                </c:pt>
                <c:pt idx="31">
                  <c:v>1.5592203898050976</c:v>
                </c:pt>
                <c:pt idx="32">
                  <c:v>1.5612258036825617</c:v>
                </c:pt>
                <c:pt idx="33">
                  <c:v>1.546880371261602</c:v>
                </c:pt>
                <c:pt idx="34">
                  <c:v>1.5743618440876415</c:v>
                </c:pt>
                <c:pt idx="35">
                  <c:v>1.5859496291185098</c:v>
                </c:pt>
                <c:pt idx="36">
                  <c:v>1.5828778031248656</c:v>
                </c:pt>
                <c:pt idx="37">
                  <c:v>1.5963144751571514</c:v>
                </c:pt>
                <c:pt idx="38">
                  <c:v>1.6071274484424884</c:v>
                </c:pt>
                <c:pt idx="39">
                  <c:v>1.591003550090917</c:v>
                </c:pt>
                <c:pt idx="40">
                  <c:v>1.6291648636953702</c:v>
                </c:pt>
                <c:pt idx="41">
                  <c:v>1.638225995062584</c:v>
                </c:pt>
                <c:pt idx="42">
                  <c:v>1.6374548775714348</c:v>
                </c:pt>
                <c:pt idx="43">
                  <c:v>1.6240790500130016</c:v>
                </c:pt>
                <c:pt idx="44">
                  <c:v>1.628830627658651</c:v>
                </c:pt>
                <c:pt idx="45">
                  <c:v>1.6290427328224446</c:v>
                </c:pt>
                <c:pt idx="46">
                  <c:v>1.6371971185330711</c:v>
                </c:pt>
                <c:pt idx="47">
                  <c:v>1.6142063698689575</c:v>
                </c:pt>
                <c:pt idx="48">
                  <c:v>1.613610749891634</c:v>
                </c:pt>
                <c:pt idx="49">
                  <c:v>1.5759996526722526</c:v>
                </c:pt>
                <c:pt idx="50">
                  <c:v>1.515648220998339</c:v>
                </c:pt>
                <c:pt idx="51">
                  <c:v>1.5325610655559894</c:v>
                </c:pt>
                <c:pt idx="52">
                  <c:v>1.54880694143167</c:v>
                </c:pt>
                <c:pt idx="53">
                  <c:v>1.0330398395955018</c:v>
                </c:pt>
                <c:pt idx="54">
                  <c:v>0.9696130205177041</c:v>
                </c:pt>
                <c:pt idx="55">
                  <c:v>1.002164502164502</c:v>
                </c:pt>
                <c:pt idx="56">
                  <c:v>1.1238922751048286</c:v>
                </c:pt>
                <c:pt idx="57">
                  <c:v>1.2066952121448034</c:v>
                </c:pt>
                <c:pt idx="58">
                  <c:v>1.2884590419317148</c:v>
                </c:pt>
                <c:pt idx="59">
                  <c:v>1.266903452159224</c:v>
                </c:pt>
                <c:pt idx="60">
                  <c:v>1.285608984087066</c:v>
                </c:pt>
                <c:pt idx="61">
                  <c:v>1.2937445319335084</c:v>
                </c:pt>
                <c:pt idx="62">
                  <c:v>1.287129144851658</c:v>
                </c:pt>
                <c:pt idx="63">
                  <c:v>1.3584758605758822</c:v>
                </c:pt>
                <c:pt idx="64">
                  <c:v>1.4053797331721427</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150209042713676</c:v>
                </c:pt>
                <c:pt idx="1">
                  <c:v>1.583385664304297</c:v>
                </c:pt>
                <c:pt idx="2">
                  <c:v>1.5377476583070748</c:v>
                </c:pt>
                <c:pt idx="3">
                  <c:v>1.507700271774298</c:v>
                </c:pt>
                <c:pt idx="4">
                  <c:v>1.474624019416634</c:v>
                </c:pt>
                <c:pt idx="5">
                  <c:v>1.4815861559198227</c:v>
                </c:pt>
                <c:pt idx="6">
                  <c:v>1.530127762430939</c:v>
                </c:pt>
                <c:pt idx="7">
                  <c:v>1.4565095519427314</c:v>
                </c:pt>
                <c:pt idx="8">
                  <c:v>1.4696982795884843</c:v>
                </c:pt>
                <c:pt idx="9">
                  <c:v>1.4506519298851568</c:v>
                </c:pt>
                <c:pt idx="10">
                  <c:v>1.4716489150130374</c:v>
                </c:pt>
                <c:pt idx="11">
                  <c:v>1.497619459833795</c:v>
                </c:pt>
                <c:pt idx="12">
                  <c:v>1.4608703130374958</c:v>
                </c:pt>
                <c:pt idx="13">
                  <c:v>1.4883770985794231</c:v>
                </c:pt>
                <c:pt idx="14">
                  <c:v>1.4362662519977538</c:v>
                </c:pt>
                <c:pt idx="15">
                  <c:v>1.4713485566566133</c:v>
                </c:pt>
                <c:pt idx="16">
                  <c:v>1.449754796524133</c:v>
                </c:pt>
                <c:pt idx="17">
                  <c:v>1.3941772697865</c:v>
                </c:pt>
                <c:pt idx="18">
                  <c:v>1.3724516240497582</c:v>
                </c:pt>
                <c:pt idx="19">
                  <c:v>1.3935424916235153</c:v>
                </c:pt>
                <c:pt idx="20">
                  <c:v>1.4193800808590185</c:v>
                </c:pt>
                <c:pt idx="21">
                  <c:v>1.4215559576117858</c:v>
                </c:pt>
                <c:pt idx="22">
                  <c:v>1.418253248715624</c:v>
                </c:pt>
                <c:pt idx="23">
                  <c:v>1.3434025683013013</c:v>
                </c:pt>
                <c:pt idx="24">
                  <c:v>1.3683575399732792</c:v>
                </c:pt>
                <c:pt idx="25">
                  <c:v>1.3824570491237156</c:v>
                </c:pt>
                <c:pt idx="26">
                  <c:v>1.383779806984896</c:v>
                </c:pt>
                <c:pt idx="27">
                  <c:v>1.3562543192812717</c:v>
                </c:pt>
                <c:pt idx="28">
                  <c:v>1.3776805441233808</c:v>
                </c:pt>
                <c:pt idx="29">
                  <c:v>1.3663923776526634</c:v>
                </c:pt>
                <c:pt idx="30">
                  <c:v>1.3797173875581594</c:v>
                </c:pt>
                <c:pt idx="31">
                  <c:v>1.361396836373066</c:v>
                </c:pt>
                <c:pt idx="32">
                  <c:v>1.3989581072281312</c:v>
                </c:pt>
                <c:pt idx="33">
                  <c:v>1.3974281260824384</c:v>
                </c:pt>
                <c:pt idx="34">
                  <c:v>1.3782161975479192</c:v>
                </c:pt>
                <c:pt idx="35">
                  <c:v>1.3400389357560025</c:v>
                </c:pt>
                <c:pt idx="36">
                  <c:v>1.1878120158374934</c:v>
                </c:pt>
                <c:pt idx="37">
                  <c:v>1.204489425197872</c:v>
                </c:pt>
                <c:pt idx="38">
                  <c:v>1.3190165492805601</c:v>
                </c:pt>
                <c:pt idx="39">
                  <c:v>1.504301075268817</c:v>
                </c:pt>
                <c:pt idx="40">
                  <c:v>1.368789453343067</c:v>
                </c:pt>
                <c:pt idx="41">
                  <c:v>1.2654977814155863</c:v>
                </c:pt>
                <c:pt idx="42">
                  <c:v>1.3445309122351923</c:v>
                </c:pt>
                <c:pt idx="43">
                  <c:v>1.3646082308461172</c:v>
                </c:pt>
                <c:pt idx="44">
                  <c:v>1.3443069735248314</c:v>
                </c:pt>
                <c:pt idx="45">
                  <c:v>1.2234644162171568</c:v>
                </c:pt>
                <c:pt idx="46">
                  <c:v>1.1972137570744448</c:v>
                </c:pt>
                <c:pt idx="47">
                  <c:v>1.2087700908455625</c:v>
                </c:pt>
                <c:pt idx="48">
                  <c:v>1.246337516945817</c:v>
                </c:pt>
                <c:pt idx="49">
                  <c:v>1.245749005551427</c:v>
                </c:pt>
                <c:pt idx="50">
                  <c:v>1.3195450304349756</c:v>
                </c:pt>
                <c:pt idx="51">
                  <c:v>1.3110208715396034</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234087519896726</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234087519896726</c:v>
                </c:pt>
                <c:pt idx="1">
                  <c:v>1.2234087519896726</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421894595205263</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421894595205263</c:v>
                </c:pt>
                <c:pt idx="1">
                  <c:v>1.2421894595205263</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42189459520526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421894595205263</c:v>
                </c:pt>
                <c:pt idx="1">
                  <c:v>1.242189459520526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150209042713676</c:v>
                </c:pt>
                <c:pt idx="1">
                  <c:v>1.583385664304297</c:v>
                </c:pt>
                <c:pt idx="2">
                  <c:v>1.5377476583070748</c:v>
                </c:pt>
                <c:pt idx="3">
                  <c:v>1.507700271774298</c:v>
                </c:pt>
                <c:pt idx="4">
                  <c:v>1.474624019416634</c:v>
                </c:pt>
                <c:pt idx="5">
                  <c:v>1.4815861559198227</c:v>
                </c:pt>
                <c:pt idx="6">
                  <c:v>1.530127762430939</c:v>
                </c:pt>
                <c:pt idx="7">
                  <c:v>1.4565095519427314</c:v>
                </c:pt>
                <c:pt idx="8">
                  <c:v>1.4696982795884843</c:v>
                </c:pt>
                <c:pt idx="9">
                  <c:v>1.4506519298851568</c:v>
                </c:pt>
                <c:pt idx="10">
                  <c:v>1.4716489150130374</c:v>
                </c:pt>
                <c:pt idx="11">
                  <c:v>1.497619459833795</c:v>
                </c:pt>
                <c:pt idx="12">
                  <c:v>1.4608703130374958</c:v>
                </c:pt>
                <c:pt idx="13">
                  <c:v>1.4883770985794231</c:v>
                </c:pt>
                <c:pt idx="14">
                  <c:v>1.4362662519977538</c:v>
                </c:pt>
                <c:pt idx="15">
                  <c:v>1.4713485566566133</c:v>
                </c:pt>
                <c:pt idx="16">
                  <c:v>1.449754796524133</c:v>
                </c:pt>
                <c:pt idx="17">
                  <c:v>1.3941772697865</c:v>
                </c:pt>
                <c:pt idx="18">
                  <c:v>1.3724516240497582</c:v>
                </c:pt>
                <c:pt idx="19">
                  <c:v>1.3935424916235153</c:v>
                </c:pt>
                <c:pt idx="20">
                  <c:v>1.4193800808590185</c:v>
                </c:pt>
                <c:pt idx="21">
                  <c:v>1.4215559576117858</c:v>
                </c:pt>
                <c:pt idx="22">
                  <c:v>1.418253248715624</c:v>
                </c:pt>
                <c:pt idx="23">
                  <c:v>1.3434025683013013</c:v>
                </c:pt>
                <c:pt idx="24">
                  <c:v>1.3683575399732792</c:v>
                </c:pt>
                <c:pt idx="25">
                  <c:v>1.3824570491237156</c:v>
                </c:pt>
                <c:pt idx="26">
                  <c:v>1.383779806984896</c:v>
                </c:pt>
                <c:pt idx="27">
                  <c:v>1.3562543192812717</c:v>
                </c:pt>
                <c:pt idx="28">
                  <c:v>1.3776805441233808</c:v>
                </c:pt>
                <c:pt idx="29">
                  <c:v>1.3663923776526634</c:v>
                </c:pt>
                <c:pt idx="30">
                  <c:v>1.3797173875581594</c:v>
                </c:pt>
                <c:pt idx="31">
                  <c:v>1.361396836373066</c:v>
                </c:pt>
                <c:pt idx="32">
                  <c:v>1.3989581072281312</c:v>
                </c:pt>
                <c:pt idx="33">
                  <c:v>1.3974281260824384</c:v>
                </c:pt>
                <c:pt idx="34">
                  <c:v>1.3782161975479192</c:v>
                </c:pt>
                <c:pt idx="35">
                  <c:v>1.3400389357560025</c:v>
                </c:pt>
                <c:pt idx="36">
                  <c:v>1.1878120158374934</c:v>
                </c:pt>
                <c:pt idx="37">
                  <c:v>1.204489425197872</c:v>
                </c:pt>
                <c:pt idx="38">
                  <c:v>1.3190165492805601</c:v>
                </c:pt>
                <c:pt idx="39">
                  <c:v>1.504301075268817</c:v>
                </c:pt>
                <c:pt idx="40">
                  <c:v>1.368789453343067</c:v>
                </c:pt>
                <c:pt idx="41">
                  <c:v>1.2654977814155863</c:v>
                </c:pt>
                <c:pt idx="42">
                  <c:v>1.3445309122351923</c:v>
                </c:pt>
                <c:pt idx="43">
                  <c:v>1.3646082308461172</c:v>
                </c:pt>
                <c:pt idx="44">
                  <c:v>1.3443069735248314</c:v>
                </c:pt>
                <c:pt idx="45">
                  <c:v>1.2234644162171568</c:v>
                </c:pt>
                <c:pt idx="46">
                  <c:v>1.1972137570744448</c:v>
                </c:pt>
                <c:pt idx="47">
                  <c:v>1.2087700908455625</c:v>
                </c:pt>
                <c:pt idx="48">
                  <c:v>1.246337516945817</c:v>
                </c:pt>
                <c:pt idx="49">
                  <c:v>1.245749005551427</c:v>
                </c:pt>
                <c:pt idx="50">
                  <c:v>1.3195450304349756</c:v>
                </c:pt>
                <c:pt idx="51">
                  <c:v>1.3110208715396034</c:v>
                </c:pt>
                <c:pt idx="52">
                  <c:v>1.2421894595205263</c:v>
                </c:pt>
                <c:pt idx="53">
                  <c:v>1.2234087519896726</c:v>
                </c:pt>
                <c:pt idx="54">
                  <c:v>1.2421894595205263</c:v>
                </c:pt>
              </c:numCache>
            </c:numRef>
          </c:xVal>
          <c:yVal>
            <c:numRef>
              <c:f>Sheet1!$B$147:$B$201</c:f>
              <c:numCache>
                <c:formatCode>General</c:formatCode>
                <c:ptCount val="55"/>
                <c:pt idx="0">
                  <c:v>0.00123058561355535</c:v>
                </c:pt>
                <c:pt idx="1">
                  <c:v>0.0011316226787575967</c:v>
                </c:pt>
                <c:pt idx="2">
                  <c:v>0.0011976869933200572</c:v>
                </c:pt>
                <c:pt idx="3">
                  <c:v>0.001241182758577681</c:v>
                </c:pt>
                <c:pt idx="4">
                  <c:v>0.0012890630261870296</c:v>
                </c:pt>
                <c:pt idx="5">
                  <c:v>0.001278984830044949</c:v>
                </c:pt>
                <c:pt idx="6">
                  <c:v>0.0012087173437285493</c:v>
                </c:pt>
                <c:pt idx="7">
                  <c:v>0.0013152850280290953</c:v>
                </c:pt>
                <c:pt idx="8">
                  <c:v>0.0012961933908545728</c:v>
                </c:pt>
                <c:pt idx="9">
                  <c:v>0.0013237643596244143</c:v>
                </c:pt>
                <c:pt idx="10">
                  <c:v>0.0012933697049930084</c:v>
                </c:pt>
                <c:pt idx="11">
                  <c:v>0.0012557754629811762</c:v>
                </c:pt>
                <c:pt idx="12">
                  <c:v>0.0013089725109416092</c:v>
                </c:pt>
                <c:pt idx="13">
                  <c:v>0.00126915444937348</c:v>
                </c:pt>
                <c:pt idx="14">
                  <c:v>0.0013445886688461073</c:v>
                </c:pt>
                <c:pt idx="15">
                  <c:v>0.001293804495438092</c:v>
                </c:pt>
                <c:pt idx="16">
                  <c:v>0.001325063025051882</c:v>
                </c:pt>
                <c:pt idx="17">
                  <c:v>0.0014055155147864695</c:v>
                </c:pt>
                <c:pt idx="18">
                  <c:v>0.0014369649583513802</c:v>
                </c:pt>
                <c:pt idx="19">
                  <c:v>0.0014064344020892879</c:v>
                </c:pt>
                <c:pt idx="20">
                  <c:v>0.0013690326229034528</c:v>
                </c:pt>
                <c:pt idx="21">
                  <c:v>0.001365882883928163</c:v>
                </c:pt>
                <c:pt idx="22">
                  <c:v>0.0013706637939319335</c:v>
                </c:pt>
                <c:pt idx="23">
                  <c:v>0.0014790155675919617</c:v>
                </c:pt>
                <c:pt idx="24">
                  <c:v>0.001442891441166824</c:v>
                </c:pt>
                <c:pt idx="25">
                  <c:v>0.001422481381889751</c:v>
                </c:pt>
                <c:pt idx="26">
                  <c:v>0.0014205665942139635</c:v>
                </c:pt>
                <c:pt idx="27">
                  <c:v>0.0014604117285138291</c:v>
                </c:pt>
                <c:pt idx="28">
                  <c:v>0.0014293957183502547</c:v>
                </c:pt>
                <c:pt idx="29">
                  <c:v>0.0014457361557611331</c:v>
                </c:pt>
                <c:pt idx="30">
                  <c:v>0.0014264472401586815</c:v>
                </c:pt>
                <c:pt idx="31">
                  <c:v>0.0014529675630782094</c:v>
                </c:pt>
                <c:pt idx="32">
                  <c:v>0.0013985949068038347</c:v>
                </c:pt>
                <c:pt idx="33">
                  <c:v>0.0014008096651718896</c:v>
                </c:pt>
                <c:pt idx="34">
                  <c:v>0.0014286203212757788</c:v>
                </c:pt>
                <c:pt idx="35">
                  <c:v>0.0014838846689843117</c:v>
                </c:pt>
                <c:pt idx="36">
                  <c:v>0.0017042441457542435</c:v>
                </c:pt>
                <c:pt idx="37">
                  <c:v>0.0016801023894702806</c:v>
                </c:pt>
                <c:pt idx="38">
                  <c:v>0.0015143160939035288</c:v>
                </c:pt>
                <c:pt idx="39">
                  <c:v>0.0012461033413746461</c:v>
                </c:pt>
                <c:pt idx="40">
                  <c:v>0.0014422662153248554</c:v>
                </c:pt>
                <c:pt idx="41">
                  <c:v>0.0015917883812651226</c:v>
                </c:pt>
                <c:pt idx="42">
                  <c:v>0.0014773822081373931</c:v>
                </c:pt>
                <c:pt idx="43">
                  <c:v>0.0014483188373064322</c:v>
                </c:pt>
                <c:pt idx="44">
                  <c:v>0.0014777063756175608</c:v>
                </c:pt>
                <c:pt idx="45">
                  <c:v>0.0016526347175567838</c:v>
                </c:pt>
                <c:pt idx="46">
                  <c:v>0.001690634445309605</c:v>
                </c:pt>
                <c:pt idx="47">
                  <c:v>0.001673905816335535</c:v>
                </c:pt>
                <c:pt idx="48">
                  <c:v>0.0016195242498985554</c:v>
                </c:pt>
                <c:pt idx="49">
                  <c:v>0.0016203761627074749</c:v>
                </c:pt>
                <c:pt idx="50">
                  <c:v>0.0015135510792088078</c:v>
                </c:pt>
                <c:pt idx="51">
                  <c:v>0.0015258904157407006</c:v>
                </c:pt>
                <c:pt idx="52">
                  <c:v>0.0016255288630401602</c:v>
                </c:pt>
                <c:pt idx="53">
                  <c:v>0.00165271529555212</c:v>
                </c:pt>
                <c:pt idx="54">
                  <c:v>0.00162552886304016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7826</c:v>
                </c:pt>
                <c:pt idx="1">
                  <c:v>3.7926</c:v>
                </c:pt>
                <c:pt idx="2">
                  <c:v>3.7924</c:v>
                </c:pt>
                <c:pt idx="3">
                  <c:v>3.8198</c:v>
                </c:pt>
                <c:pt idx="4">
                  <c:v>3.8001</c:v>
                </c:pt>
                <c:pt idx="5">
                  <c:v>3.8375</c:v>
                </c:pt>
                <c:pt idx="6">
                  <c:v>3.7125</c:v>
                </c:pt>
                <c:pt idx="7">
                  <c:v>3.5325</c:v>
                </c:pt>
                <c:pt idx="8">
                  <c:v>3.5425</c:v>
                </c:pt>
                <c:pt idx="9">
                  <c:v>3.59</c:v>
                </c:pt>
                <c:pt idx="10">
                  <c:v>3.435</c:v>
                </c:pt>
                <c:pt idx="11">
                  <c:v>3.5776</c:v>
                </c:pt>
                <c:pt idx="12">
                  <c:v>3.7124</c:v>
                </c:pt>
                <c:pt idx="13">
                  <c:v>3.7325</c:v>
                </c:pt>
                <c:pt idx="14">
                  <c:v>3.6975</c:v>
                </c:pt>
                <c:pt idx="15">
                  <c:v>3.745</c:v>
                </c:pt>
                <c:pt idx="16">
                  <c:v>3.7</c:v>
                </c:pt>
                <c:pt idx="17">
                  <c:v>3.7525</c:v>
                </c:pt>
                <c:pt idx="18">
                  <c:v>3.7299</c:v>
                </c:pt>
                <c:pt idx="19">
                  <c:v>3.7449</c:v>
                </c:pt>
                <c:pt idx="20">
                  <c:v>3.7476</c:v>
                </c:pt>
                <c:pt idx="21">
                  <c:v>3.7575</c:v>
                </c:pt>
                <c:pt idx="22">
                  <c:v>3.7251</c:v>
                </c:pt>
                <c:pt idx="23">
                  <c:v>3.7249</c:v>
                </c:pt>
                <c:pt idx="24">
                  <c:v>3.7674</c:v>
                </c:pt>
                <c:pt idx="25">
                  <c:v>3.7325</c:v>
                </c:pt>
                <c:pt idx="26">
                  <c:v>3.7251</c:v>
                </c:pt>
                <c:pt idx="27">
                  <c:v>3.745</c:v>
                </c:pt>
                <c:pt idx="28">
                  <c:v>3.7374</c:v>
                </c:pt>
                <c:pt idx="29">
                  <c:v>3.7425</c:v>
                </c:pt>
                <c:pt idx="30">
                  <c:v>3.6575</c:v>
                </c:pt>
                <c:pt idx="31">
                  <c:v>3.64</c:v>
                </c:pt>
                <c:pt idx="32">
                  <c:v>3.6375</c:v>
                </c:pt>
                <c:pt idx="33">
                  <c:v>3.5999</c:v>
                </c:pt>
                <c:pt idx="34">
                  <c:v>3.6574</c:v>
                </c:pt>
                <c:pt idx="35">
                  <c:v>3.6775</c:v>
                </c:pt>
                <c:pt idx="36">
                  <c:v>3.6775</c:v>
                </c:pt>
                <c:pt idx="37">
                  <c:v>3.7076</c:v>
                </c:pt>
                <c:pt idx="38">
                  <c:v>3.725</c:v>
                </c:pt>
                <c:pt idx="39">
                  <c:v>3.6749</c:v>
                </c:pt>
                <c:pt idx="40">
                  <c:v>3.765</c:v>
                </c:pt>
                <c:pt idx="41">
                  <c:v>3.7825</c:v>
                </c:pt>
                <c:pt idx="42">
                  <c:v>3.765</c:v>
                </c:pt>
                <c:pt idx="43">
                  <c:v>3.7474</c:v>
                </c:pt>
                <c:pt idx="44">
                  <c:v>3.7525</c:v>
                </c:pt>
                <c:pt idx="45">
                  <c:v>3.7626</c:v>
                </c:pt>
                <c:pt idx="46">
                  <c:v>3.75</c:v>
                </c:pt>
                <c:pt idx="47">
                  <c:v>3.7201</c:v>
                </c:pt>
                <c:pt idx="48">
                  <c:v>3.7226</c:v>
                </c:pt>
                <c:pt idx="49">
                  <c:v>3.63</c:v>
                </c:pt>
                <c:pt idx="50">
                  <c:v>3.4675</c:v>
                </c:pt>
                <c:pt idx="51">
                  <c:v>3.5324</c:v>
                </c:pt>
                <c:pt idx="52">
                  <c:v>3.57</c:v>
                </c:pt>
                <c:pt idx="53">
                  <c:v>2.37</c:v>
                </c:pt>
                <c:pt idx="54">
                  <c:v>2.24</c:v>
                </c:pt>
                <c:pt idx="55">
                  <c:v>2.315</c:v>
                </c:pt>
                <c:pt idx="56">
                  <c:v>2.5999</c:v>
                </c:pt>
                <c:pt idx="57">
                  <c:v>2.79</c:v>
                </c:pt>
                <c:pt idx="58">
                  <c:v>2.9775</c:v>
                </c:pt>
                <c:pt idx="59">
                  <c:v>2.9249</c:v>
                </c:pt>
                <c:pt idx="60">
                  <c:v>2.965</c:v>
                </c:pt>
                <c:pt idx="61">
                  <c:v>2.9575</c:v>
                </c:pt>
                <c:pt idx="62">
                  <c:v>2.9501</c:v>
                </c:pt>
                <c:pt idx="63">
                  <c:v>3.1374</c:v>
                </c:pt>
                <c:pt idx="64">
                  <c:v>3.25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818909787836670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8189097878366702</c:v>
                </c:pt>
                <c:pt idx="1">
                  <c:v>2.818909787836670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862867557728453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8628675577284532</c:v>
                </c:pt>
                <c:pt idx="1">
                  <c:v>2.862867557728453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86286755772845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862867557728453</c:v>
                </c:pt>
                <c:pt idx="1">
                  <c:v>2.86286755772845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pt idx="52">
                  <c:v>2.8628675577284532</c:v>
                </c:pt>
                <c:pt idx="53">
                  <c:v>2.8189097878366702</c:v>
                </c:pt>
                <c:pt idx="54">
                  <c:v>2.862867557728453</c:v>
                </c:pt>
              </c:numCache>
            </c:numRef>
          </c:xVal>
          <c:yVal>
            <c:numRef>
              <c:f>Sheet1!$B$147:$B$201</c:f>
              <c:numCache>
                <c:formatCode>General</c:formatCode>
                <c:ptCount val="55"/>
                <c:pt idx="0">
                  <c:v>0.0012222064316629246</c:v>
                </c:pt>
                <c:pt idx="1">
                  <c:v>0.0012129294258302055</c:v>
                </c:pt>
                <c:pt idx="2">
                  <c:v>0.001192829246525981</c:v>
                </c:pt>
                <c:pt idx="3">
                  <c:v>0.0012345757727732169</c:v>
                </c:pt>
                <c:pt idx="4">
                  <c:v>0.0012918458221138698</c:v>
                </c:pt>
                <c:pt idx="5">
                  <c:v>0.001288691640130745</c:v>
                </c:pt>
                <c:pt idx="6">
                  <c:v>0.0012036524199974864</c:v>
                </c:pt>
                <c:pt idx="7">
                  <c:v>0.0013072456517961837</c:v>
                </c:pt>
                <c:pt idx="8">
                  <c:v>0.001293330143047105</c:v>
                </c:pt>
                <c:pt idx="9">
                  <c:v>0.0013180688252676896</c:v>
                </c:pt>
                <c:pt idx="10">
                  <c:v>0.0013366846836386794</c:v>
                </c:pt>
                <c:pt idx="11">
                  <c:v>0.0012561602730106767</c:v>
                </c:pt>
                <c:pt idx="12">
                  <c:v>0.001294938157391443</c:v>
                </c:pt>
                <c:pt idx="13">
                  <c:v>0.001257768287355015</c:v>
                </c:pt>
                <c:pt idx="14">
                  <c:v>0.0013396533255051494</c:v>
                </c:pt>
                <c:pt idx="15">
                  <c:v>0.001284053137214386</c:v>
                </c:pt>
                <c:pt idx="16">
                  <c:v>0.0013118223080069921</c:v>
                </c:pt>
                <c:pt idx="17">
                  <c:v>0.0013969852215513535</c:v>
                </c:pt>
                <c:pt idx="18">
                  <c:v>0.0014309390628991056</c:v>
                </c:pt>
                <c:pt idx="19">
                  <c:v>0.0014154773865112406</c:v>
                </c:pt>
                <c:pt idx="20">
                  <c:v>0.0013768231955415774</c:v>
                </c:pt>
                <c:pt idx="21">
                  <c:v>0.001355176848598566</c:v>
                </c:pt>
                <c:pt idx="22">
                  <c:v>0.001364392007725734</c:v>
                </c:pt>
                <c:pt idx="23">
                  <c:v>0.0014680470862299825</c:v>
                </c:pt>
                <c:pt idx="24">
                  <c:v>0.0014324852305378924</c:v>
                </c:pt>
                <c:pt idx="25">
                  <c:v>0.001415415539805689</c:v>
                </c:pt>
                <c:pt idx="26">
                  <c:v>0.0014185697217888138</c:v>
                </c:pt>
                <c:pt idx="27">
                  <c:v>0.0014541315774809038</c:v>
                </c:pt>
                <c:pt idx="28">
                  <c:v>0.0014293310485547681</c:v>
                </c:pt>
                <c:pt idx="29">
                  <c:v>0.0014448545716481847</c:v>
                </c:pt>
                <c:pt idx="30">
                  <c:v>0.001415415539805689</c:v>
                </c:pt>
                <c:pt idx="31">
                  <c:v>0.0014479469069257577</c:v>
                </c:pt>
                <c:pt idx="32">
                  <c:v>0.0014031080454009483</c:v>
                </c:pt>
                <c:pt idx="33">
                  <c:v>0.0014000157101233751</c:v>
                </c:pt>
                <c:pt idx="34">
                  <c:v>0.001421662057066387</c:v>
                </c:pt>
                <c:pt idx="35">
                  <c:v>0.0014804164273402747</c:v>
                </c:pt>
                <c:pt idx="36">
                  <c:v>0.001689149058576456</c:v>
                </c:pt>
                <c:pt idx="37">
                  <c:v>0.0016737492288941421</c:v>
                </c:pt>
                <c:pt idx="38">
                  <c:v>0.001508185598132881</c:v>
                </c:pt>
                <c:pt idx="39">
                  <c:v>0.0012330296051344305</c:v>
                </c:pt>
                <c:pt idx="40">
                  <c:v>0.0014247543923439597</c:v>
                </c:pt>
                <c:pt idx="41">
                  <c:v>0.001579309309517061</c:v>
                </c:pt>
                <c:pt idx="42">
                  <c:v>0.0014727474358518936</c:v>
                </c:pt>
                <c:pt idx="43">
                  <c:v>0.0014540697307753524</c:v>
                </c:pt>
                <c:pt idx="44">
                  <c:v>0.0014742317567851286</c:v>
                </c:pt>
                <c:pt idx="45">
                  <c:v>0.001656679538161939</c:v>
                </c:pt>
                <c:pt idx="46">
                  <c:v>0.0016953337291316021</c:v>
                </c:pt>
                <c:pt idx="47">
                  <c:v>0.0016844487089545449</c:v>
                </c:pt>
                <c:pt idx="48">
                  <c:v>0.001633487023580141</c:v>
                </c:pt>
                <c:pt idx="49">
                  <c:v>0.0016335488702856925</c:v>
                </c:pt>
                <c:pt idx="50">
                  <c:v>0.001559332823623939</c:v>
                </c:pt>
                <c:pt idx="51">
                  <c:v>0.0015391707976141627</c:v>
                </c:pt>
                <c:pt idx="52">
                  <c:v>0.0016255288630401602</c:v>
                </c:pt>
                <c:pt idx="53">
                  <c:v>0.00165271529555212</c:v>
                </c:pt>
                <c:pt idx="54">
                  <c:v>0.00162552886304016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39902887366687</c:v>
                </c:pt>
                <c:pt idx="1">
                  <c:v>1.6440244483939486</c:v>
                </c:pt>
                <c:pt idx="2">
                  <c:v>1.6385396413912294</c:v>
                </c:pt>
                <c:pt idx="3">
                  <c:v>1.7514787473061582</c:v>
                </c:pt>
                <c:pt idx="4">
                  <c:v>1.7767439685805126</c:v>
                </c:pt>
                <c:pt idx="5">
                  <c:v>1.7401260599464927</c:v>
                </c:pt>
                <c:pt idx="6">
                  <c:v>1.653232988956181</c:v>
                </c:pt>
                <c:pt idx="7">
                  <c:v>1.5625</c:v>
                </c:pt>
                <c:pt idx="8">
                  <c:v>1.587995337995338</c:v>
                </c:pt>
                <c:pt idx="9">
                  <c:v>1.6168986173039679</c:v>
                </c:pt>
                <c:pt idx="10">
                  <c:v>1.551210260115607</c:v>
                </c:pt>
                <c:pt idx="11">
                  <c:v>1.5866595706936313</c:v>
                </c:pt>
                <c:pt idx="12">
                  <c:v>1.635274425160779</c:v>
                </c:pt>
                <c:pt idx="13">
                  <c:v>1.6429703318954134</c:v>
                </c:pt>
                <c:pt idx="14">
                  <c:v>1.623134328358209</c:v>
                </c:pt>
                <c:pt idx="15">
                  <c:v>1.6732943121397612</c:v>
                </c:pt>
                <c:pt idx="16">
                  <c:v>1.6553328561202578</c:v>
                </c:pt>
                <c:pt idx="17">
                  <c:v>1.6308835672997524</c:v>
                </c:pt>
                <c:pt idx="18">
                  <c:v>1.6390841975742663</c:v>
                </c:pt>
                <c:pt idx="19">
                  <c:v>1.6576221671388103</c:v>
                </c:pt>
                <c:pt idx="20">
                  <c:v>1.6433958954569372</c:v>
                </c:pt>
                <c:pt idx="21">
                  <c:v>1.6446360572504048</c:v>
                </c:pt>
                <c:pt idx="22">
                  <c:v>1.6298840516298403</c:v>
                </c:pt>
                <c:pt idx="23">
                  <c:v>1.6438942583520897</c:v>
                </c:pt>
                <c:pt idx="24">
                  <c:v>1.6475270039795336</c:v>
                </c:pt>
                <c:pt idx="25">
                  <c:v>1.6262907934294801</c:v>
                </c:pt>
                <c:pt idx="26">
                  <c:v>1.6186937817755183</c:v>
                </c:pt>
                <c:pt idx="27">
                  <c:v>1.6229685807150596</c:v>
                </c:pt>
                <c:pt idx="28">
                  <c:v>1.6108788414292488</c:v>
                </c:pt>
                <c:pt idx="29">
                  <c:v>1.6219554476900409</c:v>
                </c:pt>
                <c:pt idx="30">
                  <c:v>1.5882148595249468</c:v>
                </c:pt>
                <c:pt idx="31">
                  <c:v>1.5730337078651686</c:v>
                </c:pt>
                <c:pt idx="32">
                  <c:v>1.571410057024365</c:v>
                </c:pt>
                <c:pt idx="33">
                  <c:v>1.5595459862236276</c:v>
                </c:pt>
                <c:pt idx="34">
                  <c:v>1.5850741093871892</c:v>
                </c:pt>
                <c:pt idx="35">
                  <c:v>1.581380348312191</c:v>
                </c:pt>
                <c:pt idx="36">
                  <c:v>1.580836521514852</c:v>
                </c:pt>
                <c:pt idx="37">
                  <c:v>1.5980345674755396</c:v>
                </c:pt>
                <c:pt idx="38">
                  <c:v>1.6077517372350987</c:v>
                </c:pt>
                <c:pt idx="39">
                  <c:v>1.5911413231728437</c:v>
                </c:pt>
                <c:pt idx="40">
                  <c:v>1.6361740037373431</c:v>
                </c:pt>
                <c:pt idx="41">
                  <c:v>1.6467847969001699</c:v>
                </c:pt>
                <c:pt idx="42">
                  <c:v>1.627193361569712</c:v>
                </c:pt>
                <c:pt idx="43">
                  <c:v>1.6629243399156868</c:v>
                </c:pt>
                <c:pt idx="44">
                  <c:v>1.719831339658096</c:v>
                </c:pt>
                <c:pt idx="45">
                  <c:v>1.6917404792949957</c:v>
                </c:pt>
                <c:pt idx="46">
                  <c:v>1.671942574345713</c:v>
                </c:pt>
                <c:pt idx="47">
                  <c:v>1.6635066851495774</c:v>
                </c:pt>
                <c:pt idx="48">
                  <c:v>1.6417923612948753</c:v>
                </c:pt>
                <c:pt idx="49">
                  <c:v>1.688136539087569</c:v>
                </c:pt>
                <c:pt idx="50">
                  <c:v>1.6026529857644665</c:v>
                </c:pt>
                <c:pt idx="51">
                  <c:v>1.6223763376659166</c:v>
                </c:pt>
                <c:pt idx="52">
                  <c:v>1.6030534351145038</c:v>
                </c:pt>
                <c:pt idx="53">
                  <c:v>1.2134555322308125</c:v>
                </c:pt>
                <c:pt idx="54">
                  <c:v>1.106391385952781</c:v>
                </c:pt>
                <c:pt idx="55">
                  <c:v>1.0537096040054619</c:v>
                </c:pt>
                <c:pt idx="56">
                  <c:v>1.1472002823986232</c:v>
                </c:pt>
                <c:pt idx="57">
                  <c:v>1.224006317451961</c:v>
                </c:pt>
                <c:pt idx="58">
                  <c:v>1.3421230561189992</c:v>
                </c:pt>
                <c:pt idx="59">
                  <c:v>1.2886725117856987</c:v>
                </c:pt>
                <c:pt idx="60">
                  <c:v>1.3815115087130743</c:v>
                </c:pt>
                <c:pt idx="61">
                  <c:v>1.3932070849820992</c:v>
                </c:pt>
                <c:pt idx="62">
                  <c:v>1.3178914451641723</c:v>
                </c:pt>
                <c:pt idx="63">
                  <c:v>1.4105111720541295</c:v>
                </c:pt>
                <c:pt idx="64">
                  <c:v>1.447953736654804</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5798462852263024</c:v>
                </c:pt>
                <c:pt idx="1">
                  <c:v>1.5942552614939933</c:v>
                </c:pt>
                <c:pt idx="2">
                  <c:v>1.610096718792371</c:v>
                </c:pt>
                <c:pt idx="3">
                  <c:v>1.5771660649819494</c:v>
                </c:pt>
                <c:pt idx="4">
                  <c:v>1.5115059973345182</c:v>
                </c:pt>
                <c:pt idx="5">
                  <c:v>1.5387220591555655</c:v>
                </c:pt>
                <c:pt idx="6">
                  <c:v>1.6086581658120434</c:v>
                </c:pt>
                <c:pt idx="7">
                  <c:v>1.4888692968922195</c:v>
                </c:pt>
                <c:pt idx="8">
                  <c:v>1.5094339622641508</c:v>
                </c:pt>
                <c:pt idx="9">
                  <c:v>1.5270644912057447</c:v>
                </c:pt>
                <c:pt idx="10">
                  <c:v>1.6148101449978176</c:v>
                </c:pt>
                <c:pt idx="11">
                  <c:v>1.5516143497757848</c:v>
                </c:pt>
                <c:pt idx="12">
                  <c:v>1.50774419739937</c:v>
                </c:pt>
                <c:pt idx="13">
                  <c:v>1.528852531505638</c:v>
                </c:pt>
                <c:pt idx="14">
                  <c:v>1.519351153758282</c:v>
                </c:pt>
                <c:pt idx="15">
                  <c:v>1.5091921513169526</c:v>
                </c:pt>
                <c:pt idx="16">
                  <c:v>1.4880342635111266</c:v>
                </c:pt>
                <c:pt idx="17">
                  <c:v>1.4908906415755732</c:v>
                </c:pt>
                <c:pt idx="18">
                  <c:v>1.4286677757295088</c:v>
                </c:pt>
                <c:pt idx="19">
                  <c:v>1.4237129901307015</c:v>
                </c:pt>
                <c:pt idx="20">
                  <c:v>1.4553153554713618</c:v>
                </c:pt>
                <c:pt idx="21">
                  <c:v>1.4781634938409853</c:v>
                </c:pt>
                <c:pt idx="22">
                  <c:v>1.48412017167382</c:v>
                </c:pt>
                <c:pt idx="23">
                  <c:v>1.3882703954399715</c:v>
                </c:pt>
                <c:pt idx="24">
                  <c:v>1.4153256363393214</c:v>
                </c:pt>
                <c:pt idx="25">
                  <c:v>1.4245173916911305</c:v>
                </c:pt>
                <c:pt idx="26">
                  <c:v>1.4190928457305165</c:v>
                </c:pt>
                <c:pt idx="27">
                  <c:v>1.4081348939414322</c:v>
                </c:pt>
                <c:pt idx="28">
                  <c:v>1.4097437716109584</c:v>
                </c:pt>
                <c:pt idx="29">
                  <c:v>1.4003550821127384</c:v>
                </c:pt>
                <c:pt idx="30">
                  <c:v>1.4192147478507489</c:v>
                </c:pt>
                <c:pt idx="31">
                  <c:v>1.4043691484618814</c:v>
                </c:pt>
                <c:pt idx="32">
                  <c:v>1.4581447963800906</c:v>
                </c:pt>
                <c:pt idx="33">
                  <c:v>1.4600108567809644</c:v>
                </c:pt>
                <c:pt idx="34">
                  <c:v>1.4294349422405301</c:v>
                </c:pt>
                <c:pt idx="35">
                  <c:v>1.409812935232807</c:v>
                </c:pt>
                <c:pt idx="36">
                  <c:v>1.2579189644956927</c:v>
                </c:pt>
                <c:pt idx="37">
                  <c:v>1.2725154215215901</c:v>
                </c:pt>
                <c:pt idx="38">
                  <c:v>1.3989917506874427</c:v>
                </c:pt>
                <c:pt idx="39">
                  <c:v>1.5873195969864755</c:v>
                </c:pt>
                <c:pt idx="40">
                  <c:v>1.4271323035594359</c:v>
                </c:pt>
                <c:pt idx="41">
                  <c:v>1.3613865974603765</c:v>
                </c:pt>
                <c:pt idx="42">
                  <c:v>1.4218635698610096</c:v>
                </c:pt>
                <c:pt idx="43">
                  <c:v>1.4420003673769286</c:v>
                </c:pt>
                <c:pt idx="44">
                  <c:v>1.446425246695215</c:v>
                </c:pt>
                <c:pt idx="45">
                  <c:v>1.2919154800183739</c:v>
                </c:pt>
                <c:pt idx="46">
                  <c:v>1.25</c:v>
                </c:pt>
                <c:pt idx="47">
                  <c:v>1.3524237685691944</c:v>
                </c:pt>
                <c:pt idx="48">
                  <c:v>1.4123593835175183</c:v>
                </c:pt>
                <c:pt idx="49">
                  <c:v>1.2930580762250452</c:v>
                </c:pt>
                <c:pt idx="50">
                  <c:v>1.3362879640044993</c:v>
                </c:pt>
                <c:pt idx="51">
                  <c:v>1.3585972850678734</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2694357123702025</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2694357123702025</c:v>
                </c:pt>
                <c:pt idx="1">
                  <c:v>1.2694357123702025</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289963117839082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2899631178390822</c:v>
                </c:pt>
                <c:pt idx="1">
                  <c:v>1.289963117839082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2899631178390822</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2899631178390822</c:v>
                </c:pt>
                <c:pt idx="1">
                  <c:v>1.2899631178390822</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5798462852263024</c:v>
                </c:pt>
                <c:pt idx="1">
                  <c:v>1.5942552614939933</c:v>
                </c:pt>
                <c:pt idx="2">
                  <c:v>1.610096718792371</c:v>
                </c:pt>
                <c:pt idx="3">
                  <c:v>1.5771660649819494</c:v>
                </c:pt>
                <c:pt idx="4">
                  <c:v>1.5115059973345182</c:v>
                </c:pt>
                <c:pt idx="5">
                  <c:v>1.5387220591555655</c:v>
                </c:pt>
                <c:pt idx="6">
                  <c:v>1.6086581658120434</c:v>
                </c:pt>
                <c:pt idx="7">
                  <c:v>1.4888692968922195</c:v>
                </c:pt>
                <c:pt idx="8">
                  <c:v>1.5094339622641508</c:v>
                </c:pt>
                <c:pt idx="9">
                  <c:v>1.5270644912057447</c:v>
                </c:pt>
                <c:pt idx="10">
                  <c:v>1.6148101449978176</c:v>
                </c:pt>
                <c:pt idx="11">
                  <c:v>1.5516143497757848</c:v>
                </c:pt>
                <c:pt idx="12">
                  <c:v>1.50774419739937</c:v>
                </c:pt>
                <c:pt idx="13">
                  <c:v>1.528852531505638</c:v>
                </c:pt>
                <c:pt idx="14">
                  <c:v>1.519351153758282</c:v>
                </c:pt>
                <c:pt idx="15">
                  <c:v>1.5091921513169526</c:v>
                </c:pt>
                <c:pt idx="16">
                  <c:v>1.4880342635111266</c:v>
                </c:pt>
                <c:pt idx="17">
                  <c:v>1.4908906415755732</c:v>
                </c:pt>
                <c:pt idx="18">
                  <c:v>1.4286677757295088</c:v>
                </c:pt>
                <c:pt idx="19">
                  <c:v>1.4237129901307015</c:v>
                </c:pt>
                <c:pt idx="20">
                  <c:v>1.4553153554713618</c:v>
                </c:pt>
                <c:pt idx="21">
                  <c:v>1.4781634938409853</c:v>
                </c:pt>
                <c:pt idx="22">
                  <c:v>1.48412017167382</c:v>
                </c:pt>
                <c:pt idx="23">
                  <c:v>1.3882703954399715</c:v>
                </c:pt>
                <c:pt idx="24">
                  <c:v>1.4153256363393214</c:v>
                </c:pt>
                <c:pt idx="25">
                  <c:v>1.4245173916911305</c:v>
                </c:pt>
                <c:pt idx="26">
                  <c:v>1.4190928457305165</c:v>
                </c:pt>
                <c:pt idx="27">
                  <c:v>1.4081348939414322</c:v>
                </c:pt>
                <c:pt idx="28">
                  <c:v>1.4097437716109584</c:v>
                </c:pt>
                <c:pt idx="29">
                  <c:v>1.4003550821127384</c:v>
                </c:pt>
                <c:pt idx="30">
                  <c:v>1.4192147478507489</c:v>
                </c:pt>
                <c:pt idx="31">
                  <c:v>1.4043691484618814</c:v>
                </c:pt>
                <c:pt idx="32">
                  <c:v>1.4581447963800906</c:v>
                </c:pt>
                <c:pt idx="33">
                  <c:v>1.4600108567809644</c:v>
                </c:pt>
                <c:pt idx="34">
                  <c:v>1.4294349422405301</c:v>
                </c:pt>
                <c:pt idx="35">
                  <c:v>1.409812935232807</c:v>
                </c:pt>
                <c:pt idx="36">
                  <c:v>1.2579189644956927</c:v>
                </c:pt>
                <c:pt idx="37">
                  <c:v>1.2725154215215901</c:v>
                </c:pt>
                <c:pt idx="38">
                  <c:v>1.3989917506874427</c:v>
                </c:pt>
                <c:pt idx="39">
                  <c:v>1.5873195969864755</c:v>
                </c:pt>
                <c:pt idx="40">
                  <c:v>1.4271323035594359</c:v>
                </c:pt>
                <c:pt idx="41">
                  <c:v>1.3613865974603765</c:v>
                </c:pt>
                <c:pt idx="42">
                  <c:v>1.4218635698610096</c:v>
                </c:pt>
                <c:pt idx="43">
                  <c:v>1.4420003673769286</c:v>
                </c:pt>
                <c:pt idx="44">
                  <c:v>1.446425246695215</c:v>
                </c:pt>
                <c:pt idx="45">
                  <c:v>1.2919154800183739</c:v>
                </c:pt>
                <c:pt idx="46">
                  <c:v>1.25</c:v>
                </c:pt>
                <c:pt idx="47">
                  <c:v>1.3524237685691944</c:v>
                </c:pt>
                <c:pt idx="48">
                  <c:v>1.4123593835175183</c:v>
                </c:pt>
                <c:pt idx="49">
                  <c:v>1.2930580762250452</c:v>
                </c:pt>
                <c:pt idx="50">
                  <c:v>1.3362879640044993</c:v>
                </c:pt>
                <c:pt idx="51">
                  <c:v>1.3585972850678734</c:v>
                </c:pt>
                <c:pt idx="52">
                  <c:v>1.2899631178390822</c:v>
                </c:pt>
                <c:pt idx="53">
                  <c:v>1.2694357123702025</c:v>
                </c:pt>
                <c:pt idx="54">
                  <c:v>1.2899631178390822</c:v>
                </c:pt>
              </c:numCache>
            </c:numRef>
          </c:xVal>
          <c:yVal>
            <c:numRef>
              <c:f>Sheet1!$B$147:$B$201</c:f>
              <c:numCache>
                <c:formatCode>General</c:formatCode>
                <c:ptCount val="55"/>
                <c:pt idx="0">
                  <c:v>0.001241608489933415</c:v>
                </c:pt>
                <c:pt idx="1">
                  <c:v>0.0012225252861908925</c:v>
                </c:pt>
                <c:pt idx="2">
                  <c:v>0.0012015449089880187</c:v>
                </c:pt>
                <c:pt idx="3">
                  <c:v>0.00124515816536126</c:v>
                </c:pt>
                <c:pt idx="4">
                  <c:v>0.0013321181565074283</c:v>
                </c:pt>
                <c:pt idx="5">
                  <c:v>0.001296073288145426</c:v>
                </c:pt>
                <c:pt idx="6">
                  <c:v>0.0012034501241197527</c:v>
                </c:pt>
                <c:pt idx="7">
                  <c:v>0.0013620981327787103</c:v>
                </c:pt>
                <c:pt idx="8">
                  <c:v>0.0013348623533660305</c:v>
                </c:pt>
                <c:pt idx="9">
                  <c:v>0.0013115125351950275</c:v>
                </c:pt>
                <c:pt idx="10">
                  <c:v>0.001195302461854174</c:v>
                </c:pt>
                <c:pt idx="11">
                  <c:v>0.0012789987781981005</c:v>
                </c:pt>
                <c:pt idx="12">
                  <c:v>0.001337100272742987</c:v>
                </c:pt>
                <c:pt idx="13">
                  <c:v>0.0013091444601348156</c:v>
                </c:pt>
                <c:pt idx="14">
                  <c:v>0.0013217280555283366</c:v>
                </c:pt>
                <c:pt idx="15">
                  <c:v>0.0013351826070389376</c:v>
                </c:pt>
                <c:pt idx="16">
                  <c:v>0.0013632040484140174</c:v>
                </c:pt>
                <c:pt idx="17">
                  <c:v>0.0013594210701123781</c:v>
                </c:pt>
                <c:pt idx="18">
                  <c:v>0.0014418288417905522</c:v>
                </c:pt>
                <c:pt idx="19">
                  <c:v>0.0014483909445607937</c:v>
                </c:pt>
                <c:pt idx="20">
                  <c:v>0.0014065368693414648</c:v>
                </c:pt>
                <c:pt idx="21">
                  <c:v>0.0013762768653311488</c:v>
                </c:pt>
                <c:pt idx="22">
                  <c:v>0.0013683878595752413</c:v>
                </c:pt>
                <c:pt idx="23">
                  <c:v>0.0014953310076909858</c:v>
                </c:pt>
                <c:pt idx="24">
                  <c:v>0.001459499130061829</c:v>
                </c:pt>
                <c:pt idx="25">
                  <c:v>0.0014473255976143289</c:v>
                </c:pt>
                <c:pt idx="26">
                  <c:v>0.0014545098495593605</c:v>
                </c:pt>
                <c:pt idx="27">
                  <c:v>0.0014690225271227714</c:v>
                </c:pt>
                <c:pt idx="28">
                  <c:v>0.0014668917344978151</c:v>
                </c:pt>
                <c:pt idx="29">
                  <c:v>0.0014793260859216257</c:v>
                </c:pt>
                <c:pt idx="30">
                  <c:v>0.001454348402767179</c:v>
                </c:pt>
                <c:pt idx="31">
                  <c:v>0.0014740098688251716</c:v>
                </c:pt>
                <c:pt idx="32">
                  <c:v>0.0014027895665258046</c:v>
                </c:pt>
                <c:pt idx="33">
                  <c:v>0.001400318161884409</c:v>
                </c:pt>
                <c:pt idx="34">
                  <c:v>0.001440812808828718</c:v>
                </c:pt>
                <c:pt idx="35">
                  <c:v>0.0014668001344102872</c:v>
                </c:pt>
                <c:pt idx="36">
                  <c:v>0.0016679680409281627</c:v>
                </c:pt>
                <c:pt idx="37">
                  <c:v>0.0016486365382475205</c:v>
                </c:pt>
                <c:pt idx="38">
                  <c:v>0.0014811316778578023</c:v>
                </c:pt>
                <c:pt idx="39">
                  <c:v>0.0012317108588802946</c:v>
                </c:pt>
                <c:pt idx="40">
                  <c:v>0.0014438624163983596</c:v>
                </c:pt>
                <c:pt idx="41">
                  <c:v>0.00153093582684582</c:v>
                </c:pt>
                <c:pt idx="42">
                  <c:v>0.0014508403110637573</c:v>
                </c:pt>
                <c:pt idx="43">
                  <c:v>0.001424171198520359</c:v>
                </c:pt>
                <c:pt idx="44">
                  <c:v>0.0014183109019942084</c:v>
                </c:pt>
                <c:pt idx="45">
                  <c:v>0.0016229431605895178</c:v>
                </c:pt>
                <c:pt idx="46">
                  <c:v>0.0016784558930901488</c:v>
                </c:pt>
                <c:pt idx="47">
                  <c:v>0.0015428061697947023</c:v>
                </c:pt>
                <c:pt idx="48">
                  <c:v>0.0014634276261533401</c:v>
                </c:pt>
                <c:pt idx="49">
                  <c:v>0.0016214299096963065</c:v>
                </c:pt>
                <c:pt idx="50">
                  <c:v>0.0015641763796095422</c:v>
                </c:pt>
                <c:pt idx="51">
                  <c:v>0.0015346299835783171</c:v>
                </c:pt>
                <c:pt idx="52">
                  <c:v>0.0016255288630401602</c:v>
                </c:pt>
                <c:pt idx="53">
                  <c:v>0.0016527152955521198</c:v>
                </c:pt>
                <c:pt idx="54">
                  <c:v>0.001625528863040160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7826</c:v>
                </c:pt>
                <c:pt idx="1">
                  <c:v>3.7926</c:v>
                </c:pt>
                <c:pt idx="2">
                  <c:v>3.7924</c:v>
                </c:pt>
                <c:pt idx="3">
                  <c:v>3.8198</c:v>
                </c:pt>
                <c:pt idx="4">
                  <c:v>3.8001</c:v>
                </c:pt>
                <c:pt idx="5">
                  <c:v>3.8375</c:v>
                </c:pt>
                <c:pt idx="6">
                  <c:v>3.7125</c:v>
                </c:pt>
                <c:pt idx="7">
                  <c:v>3.5325</c:v>
                </c:pt>
                <c:pt idx="8">
                  <c:v>3.5425</c:v>
                </c:pt>
                <c:pt idx="9">
                  <c:v>3.59</c:v>
                </c:pt>
                <c:pt idx="10">
                  <c:v>3.435</c:v>
                </c:pt>
                <c:pt idx="11">
                  <c:v>3.5776</c:v>
                </c:pt>
                <c:pt idx="12">
                  <c:v>3.7124</c:v>
                </c:pt>
                <c:pt idx="13">
                  <c:v>3.7325</c:v>
                </c:pt>
                <c:pt idx="14">
                  <c:v>3.6975</c:v>
                </c:pt>
                <c:pt idx="15">
                  <c:v>3.745</c:v>
                </c:pt>
                <c:pt idx="16">
                  <c:v>3.7</c:v>
                </c:pt>
                <c:pt idx="17">
                  <c:v>3.7525</c:v>
                </c:pt>
                <c:pt idx="18">
                  <c:v>3.7299</c:v>
                </c:pt>
                <c:pt idx="19">
                  <c:v>3.7449</c:v>
                </c:pt>
                <c:pt idx="20">
                  <c:v>3.7476</c:v>
                </c:pt>
                <c:pt idx="21">
                  <c:v>3.7575</c:v>
                </c:pt>
                <c:pt idx="22">
                  <c:v>3.7251</c:v>
                </c:pt>
                <c:pt idx="23">
                  <c:v>3.7249</c:v>
                </c:pt>
                <c:pt idx="24">
                  <c:v>3.7674</c:v>
                </c:pt>
                <c:pt idx="25">
                  <c:v>3.7325</c:v>
                </c:pt>
                <c:pt idx="26">
                  <c:v>3.7251</c:v>
                </c:pt>
                <c:pt idx="27">
                  <c:v>3.745</c:v>
                </c:pt>
                <c:pt idx="28">
                  <c:v>3.7374</c:v>
                </c:pt>
                <c:pt idx="29">
                  <c:v>3.7425</c:v>
                </c:pt>
                <c:pt idx="30">
                  <c:v>3.6575</c:v>
                </c:pt>
                <c:pt idx="31">
                  <c:v>3.64</c:v>
                </c:pt>
                <c:pt idx="32">
                  <c:v>3.6375</c:v>
                </c:pt>
                <c:pt idx="33">
                  <c:v>3.5999</c:v>
                </c:pt>
                <c:pt idx="34">
                  <c:v>3.6574</c:v>
                </c:pt>
                <c:pt idx="35">
                  <c:v>3.6775</c:v>
                </c:pt>
                <c:pt idx="36">
                  <c:v>3.6775</c:v>
                </c:pt>
                <c:pt idx="37">
                  <c:v>3.7076</c:v>
                </c:pt>
                <c:pt idx="38">
                  <c:v>3.725</c:v>
                </c:pt>
                <c:pt idx="39">
                  <c:v>3.6749</c:v>
                </c:pt>
                <c:pt idx="40">
                  <c:v>3.765</c:v>
                </c:pt>
                <c:pt idx="41">
                  <c:v>3.7825</c:v>
                </c:pt>
                <c:pt idx="42">
                  <c:v>3.765</c:v>
                </c:pt>
                <c:pt idx="43">
                  <c:v>3.7474</c:v>
                </c:pt>
                <c:pt idx="44">
                  <c:v>3.7525</c:v>
                </c:pt>
                <c:pt idx="45">
                  <c:v>3.7626</c:v>
                </c:pt>
                <c:pt idx="46">
                  <c:v>3.75</c:v>
                </c:pt>
                <c:pt idx="47">
                  <c:v>3.7201</c:v>
                </c:pt>
                <c:pt idx="48">
                  <c:v>3.7226</c:v>
                </c:pt>
                <c:pt idx="49">
                  <c:v>3.63</c:v>
                </c:pt>
                <c:pt idx="50">
                  <c:v>3.4675</c:v>
                </c:pt>
                <c:pt idx="51">
                  <c:v>3.5324</c:v>
                </c:pt>
                <c:pt idx="52">
                  <c:v>3.57</c:v>
                </c:pt>
                <c:pt idx="53">
                  <c:v>2.37</c:v>
                </c:pt>
                <c:pt idx="54">
                  <c:v>2.24</c:v>
                </c:pt>
                <c:pt idx="55">
                  <c:v>2.315</c:v>
                </c:pt>
                <c:pt idx="56">
                  <c:v>2.5999</c:v>
                </c:pt>
                <c:pt idx="57">
                  <c:v>2.79</c:v>
                </c:pt>
                <c:pt idx="58">
                  <c:v>2.9775</c:v>
                </c:pt>
                <c:pt idx="59">
                  <c:v>2.9249</c:v>
                </c:pt>
                <c:pt idx="60">
                  <c:v>2.965</c:v>
                </c:pt>
                <c:pt idx="61">
                  <c:v>2.9575</c:v>
                </c:pt>
                <c:pt idx="62">
                  <c:v>2.9501</c:v>
                </c:pt>
                <c:pt idx="63">
                  <c:v>3.1374</c:v>
                </c:pt>
                <c:pt idx="64">
                  <c:v>3.255</c:v>
                </c:pt>
              </c:numCache>
            </c:numRef>
          </c:xVal>
          <c:yVal>
            <c:numRef>
              <c:f>Sheet1!$B$2:$B$66</c:f>
              <c:numCache>
                <c:formatCode>General</c:formatCode>
                <c:ptCount val="65"/>
                <c:pt idx="0">
                  <c:v>0.0004918737304354477</c:v>
                </c:pt>
                <c:pt idx="1">
                  <c:v>0.000468062408601256</c:v>
                </c:pt>
                <c:pt idx="2">
                  <c:v>0.0005226835366507553</c:v>
                </c:pt>
                <c:pt idx="3">
                  <c:v>0.0006027966799947833</c:v>
                </c:pt>
                <c:pt idx="4">
                  <c:v>0.0005873275251297085</c:v>
                </c:pt>
                <c:pt idx="5">
                  <c:v>0.0006973259281605927</c:v>
                </c:pt>
                <c:pt idx="6">
                  <c:v>0.000742727353501127</c:v>
                </c:pt>
                <c:pt idx="7">
                  <c:v>0.0007625688566878929</c:v>
                </c:pt>
                <c:pt idx="8">
                  <c:v>0.0007686912768865503</c:v>
                </c:pt>
                <c:pt idx="9">
                  <c:v>0.0007378472850507963</c:v>
                </c:pt>
                <c:pt idx="10">
                  <c:v>0.0007509145513473285</c:v>
                </c:pt>
                <c:pt idx="11">
                  <c:v>0.0007667743084160203</c:v>
                </c:pt>
                <c:pt idx="12">
                  <c:v>0.0008384591623459253</c:v>
                </c:pt>
                <c:pt idx="13">
                  <c:v>0.0008331657655391424</c:v>
                </c:pt>
                <c:pt idx="14">
                  <c:v>0.0009313566380358245</c:v>
                </c:pt>
                <c:pt idx="15">
                  <c:v>0.0009012141357106101</c:v>
                </c:pt>
                <c:pt idx="16">
                  <c:v>0.0010395012598441553</c:v>
                </c:pt>
                <c:pt idx="17">
                  <c:v>0.0009663425257208372</c:v>
                </c:pt>
                <c:pt idx="18">
                  <c:v>0.0009611369116446564</c:v>
                </c:pt>
                <c:pt idx="19">
                  <c:v>0.000980841715692492</c:v>
                </c:pt>
                <c:pt idx="20">
                  <c:v>0.0009820555007933396</c:v>
                </c:pt>
                <c:pt idx="21">
                  <c:v>0.0010434064917904768</c:v>
                </c:pt>
                <c:pt idx="22">
                  <c:v>0.0010639342287843195</c:v>
                </c:pt>
                <c:pt idx="23">
                  <c:v>0.0011639483229944276</c:v>
                </c:pt>
                <c:pt idx="24">
                  <c:v>0.0010675881341340385</c:v>
                </c:pt>
                <c:pt idx="25">
                  <c:v>0.001128959005716812</c:v>
                </c:pt>
                <c:pt idx="26">
                  <c:v>0.001087817078728136</c:v>
                </c:pt>
                <c:pt idx="27">
                  <c:v>0.0010945415278438599</c:v>
                </c:pt>
                <c:pt idx="28">
                  <c:v>0.0011699086213896892</c:v>
                </c:pt>
                <c:pt idx="29">
                  <c:v>0.0011951769284244244</c:v>
                </c:pt>
                <c:pt idx="30">
                  <c:v>0.0011957258484027247</c:v>
                </c:pt>
                <c:pt idx="31">
                  <c:v>0.0012248097650184048</c:v>
                </c:pt>
                <c:pt idx="32">
                  <c:v>0.001246250203772573</c:v>
                </c:pt>
                <c:pt idx="33">
                  <c:v>0.0013320120784693075</c:v>
                </c:pt>
                <c:pt idx="34">
                  <c:v>0.0012824418217069677</c:v>
                </c:pt>
                <c:pt idx="35">
                  <c:v>0.0012726519420163615</c:v>
                </c:pt>
                <c:pt idx="36">
                  <c:v>0.0013085652487083523</c:v>
                </c:pt>
                <c:pt idx="37">
                  <c:v>0.001274046807802649</c:v>
                </c:pt>
                <c:pt idx="38">
                  <c:v>0.0013497797057650026</c:v>
                </c:pt>
                <c:pt idx="39">
                  <c:v>0.001352662960212542</c:v>
                </c:pt>
                <c:pt idx="40">
                  <c:v>0.0014489743676434363</c:v>
                </c:pt>
                <c:pt idx="41">
                  <c:v>0.0014016961229677007</c:v>
                </c:pt>
                <c:pt idx="42">
                  <c:v>0.0014489730952041186</c:v>
                </c:pt>
                <c:pt idx="43">
                  <c:v>0.0014073037282096958</c:v>
                </c:pt>
                <c:pt idx="44">
                  <c:v>0.0013500220399505632</c:v>
                </c:pt>
                <c:pt idx="45">
                  <c:v>0.0014204919875244108</c:v>
                </c:pt>
                <c:pt idx="46">
                  <c:v>0.0013371482347903849</c:v>
                </c:pt>
                <c:pt idx="47">
                  <c:v>0.0013202072364210265</c:v>
                </c:pt>
                <c:pt idx="48">
                  <c:v>0.0012859306971118073</c:v>
                </c:pt>
                <c:pt idx="49">
                  <c:v>0.0015022259116371397</c:v>
                </c:pt>
                <c:pt idx="50">
                  <c:v>0.0015633519866669159</c:v>
                </c:pt>
                <c:pt idx="51">
                  <c:v>0.0015594193195881273</c:v>
                </c:pt>
                <c:pt idx="52">
                  <c:v>0.0015081422921803648</c:v>
                </c:pt>
                <c:pt idx="53">
                  <c:v>0.002430133657351154</c:v>
                </c:pt>
                <c:pt idx="54">
                  <c:v>0.002517247616696092</c:v>
                </c:pt>
                <c:pt idx="55">
                  <c:v>0.0022478628866253723</c:v>
                </c:pt>
                <c:pt idx="56">
                  <c:v>0.0015767573258596256</c:v>
                </c:pt>
                <c:pt idx="57">
                  <c:v>0.0014279056730283444</c:v>
                </c:pt>
                <c:pt idx="58">
                  <c:v>0.0013478594750087345</c:v>
                </c:pt>
                <c:pt idx="59">
                  <c:v>0.0013588230670330938</c:v>
                </c:pt>
                <c:pt idx="60">
                  <c:v>0.0014719298573003842</c:v>
                </c:pt>
                <c:pt idx="61">
                  <c:v>0.0015386267014109454</c:v>
                </c:pt>
                <c:pt idx="62">
                  <c:v>0.0014236613889281504</c:v>
                </c:pt>
                <c:pt idx="63">
                  <c:v>0.0013620658025706811</c:v>
                </c:pt>
                <c:pt idx="64">
                  <c:v>0.0012742830981846169</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numCache>
            </c:numRef>
          </c:xVal>
          <c:yVal>
            <c:numRef>
              <c:f>Sheet1!$B$69:$B$120</c:f>
              <c:numCache>
                <c:formatCode>General</c:formatCode>
                <c:ptCount val="52"/>
                <c:pt idx="0">
                  <c:v>0.001251404225726986</c:v>
                </c:pt>
                <c:pt idx="1">
                  <c:v>0.0011779667856994832</c:v>
                </c:pt>
                <c:pt idx="2">
                  <c:v>0.0012761406630539304</c:v>
                </c:pt>
                <c:pt idx="3">
                  <c:v>0.0012691705206962982</c:v>
                </c:pt>
                <c:pt idx="4">
                  <c:v>0.0012622722439747942</c:v>
                </c:pt>
                <c:pt idx="5">
                  <c:v>0.0012823047479591496</c:v>
                </c:pt>
                <c:pt idx="6">
                  <c:v>0.0012095798541316286</c:v>
                </c:pt>
                <c:pt idx="7">
                  <c:v>0.0012652099480286176</c:v>
                </c:pt>
                <c:pt idx="8">
                  <c:v>0.0013719222640028584</c:v>
                </c:pt>
                <c:pt idx="9">
                  <c:v>0.001310165475893516</c:v>
                </c:pt>
                <c:pt idx="10">
                  <c:v>0.001316085101226635</c:v>
                </c:pt>
                <c:pt idx="11">
                  <c:v>0.0013379267092886553</c:v>
                </c:pt>
                <c:pt idx="12">
                  <c:v>0.0012968861625727163</c:v>
                </c:pt>
                <c:pt idx="13">
                  <c:v>0.00122251169164</c:v>
                </c:pt>
                <c:pt idx="14">
                  <c:v>0.0014009538630760608</c:v>
                </c:pt>
                <c:pt idx="15">
                  <c:v>0.0014376990960359322</c:v>
                </c:pt>
                <c:pt idx="16">
                  <c:v>0.0013511182344628527</c:v>
                </c:pt>
                <c:pt idx="17">
                  <c:v>0.0013173921779429797</c:v>
                </c:pt>
                <c:pt idx="18">
                  <c:v>0.0014049224720951777</c:v>
                </c:pt>
                <c:pt idx="19">
                  <c:v>0.001348175901761833</c:v>
                </c:pt>
                <c:pt idx="20">
                  <c:v>0.0013059201441644596</c:v>
                </c:pt>
                <c:pt idx="21">
                  <c:v>0.0013084589572376383</c:v>
                </c:pt>
                <c:pt idx="22">
                  <c:v>0.0012603614474918253</c:v>
                </c:pt>
                <c:pt idx="23">
                  <c:v>0.0013997596679468528</c:v>
                </c:pt>
                <c:pt idx="24">
                  <c:v>0.0012806421016227174</c:v>
                </c:pt>
                <c:pt idx="25">
                  <c:v>0.0013487658278050268</c:v>
                </c:pt>
                <c:pt idx="26">
                  <c:v>0.001329233071418137</c:v>
                </c:pt>
                <c:pt idx="27">
                  <c:v>0.0015891038573140567</c:v>
                </c:pt>
                <c:pt idx="28">
                  <c:v>0.0014701790664362927</c:v>
                </c:pt>
                <c:pt idx="29">
                  <c:v>0.0014256955889470097</c:v>
                </c:pt>
                <c:pt idx="30">
                  <c:v>0.001325729345512213</c:v>
                </c:pt>
                <c:pt idx="31">
                  <c:v>0.001361121180823923</c:v>
                </c:pt>
                <c:pt idx="32">
                  <c:v>0.0013973658712627519</c:v>
                </c:pt>
                <c:pt idx="33">
                  <c:v>0.001338974253797193</c:v>
                </c:pt>
                <c:pt idx="34">
                  <c:v>0.001394822517018153</c:v>
                </c:pt>
                <c:pt idx="35">
                  <c:v>0.0014591193967806288</c:v>
                </c:pt>
                <c:pt idx="36">
                  <c:v>0.0015258450309223136</c:v>
                </c:pt>
                <c:pt idx="37">
                  <c:v>0.001551914270605627</c:v>
                </c:pt>
                <c:pt idx="38">
                  <c:v>0.0012141813882682957</c:v>
                </c:pt>
                <c:pt idx="39">
                  <c:v>0.0013148211097433393</c:v>
                </c:pt>
                <c:pt idx="40">
                  <c:v>0.0015198209988601342</c:v>
                </c:pt>
                <c:pt idx="41">
                  <c:v>0.0016954803604327467</c:v>
                </c:pt>
                <c:pt idx="42">
                  <c:v>0.0016588639648328237</c:v>
                </c:pt>
                <c:pt idx="43">
                  <c:v>0.0015620938918698554</c:v>
                </c:pt>
                <c:pt idx="44">
                  <c:v>0.0016775736068603256</c:v>
                </c:pt>
                <c:pt idx="45">
                  <c:v>0.0019388032743625399</c:v>
                </c:pt>
                <c:pt idx="46">
                  <c:v>0.0019507039897722306</c:v>
                </c:pt>
                <c:pt idx="47">
                  <c:v>0.0019119093366053198</c:v>
                </c:pt>
                <c:pt idx="48">
                  <c:v>0.0015725112801362616</c:v>
                </c:pt>
                <c:pt idx="49">
                  <c:v>0.0015325246930783852</c:v>
                </c:pt>
                <c:pt idx="50">
                  <c:v>0.0013440511292123023</c:v>
                </c:pt>
                <c:pt idx="51">
                  <c:v>0.0014527175837558191</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2.8189097878366702</c:v>
                </c:pt>
              </c:numCache>
            </c:numRef>
          </c:xVal>
          <c:yVal>
            <c:numRef>
              <c:f>Sheet1!$B$123:$B$124</c:f>
              <c:numCache>
                <c:formatCode>General</c:formatCode>
                <c:ptCount val="2"/>
                <c:pt idx="0">
                  <c:v>0.00165271529555212</c:v>
                </c:pt>
                <c:pt idx="1">
                  <c:v>0.0016527152955521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2.8189097878366702</c:v>
                </c:pt>
                <c:pt idx="1">
                  <c:v>2.8189097878366702</c:v>
                </c:pt>
              </c:numCache>
            </c:numRef>
          </c:xVal>
          <c:yVal>
            <c:numRef>
              <c:f>Sheet1!$B$127:$B$128</c:f>
              <c:numCache>
                <c:formatCode>General</c:formatCode>
                <c:ptCount val="2"/>
                <c:pt idx="0">
                  <c:v>0.0016527152955521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2.8628675577284532</c:v>
                </c:pt>
              </c:numCache>
            </c:numRef>
          </c:xVal>
          <c:yVal>
            <c:numRef>
              <c:f>Sheet1!$B$131:$B$132</c:f>
              <c:numCache>
                <c:formatCode>General</c:formatCode>
                <c:ptCount val="2"/>
                <c:pt idx="0">
                  <c:v>0.0016255288630401602</c:v>
                </c:pt>
                <c:pt idx="1">
                  <c:v>0.001625528863040160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2.8628675577284532</c:v>
                </c:pt>
                <c:pt idx="1">
                  <c:v>2.8628675577284532</c:v>
                </c:pt>
              </c:numCache>
            </c:numRef>
          </c:xVal>
          <c:yVal>
            <c:numRef>
              <c:f>Sheet1!$B$135:$B$136</c:f>
              <c:numCache>
                <c:formatCode>General</c:formatCode>
                <c:ptCount val="2"/>
                <c:pt idx="0">
                  <c:v>0.001625528863040160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2.862867557728453</c:v>
                </c:pt>
              </c:numCache>
            </c:numRef>
          </c:xVal>
          <c:yVal>
            <c:numRef>
              <c:f>Sheet1!$B$139:$B$140</c:f>
              <c:numCache>
                <c:formatCode>General</c:formatCode>
                <c:ptCount val="2"/>
                <c:pt idx="0">
                  <c:v>0.0016255288630401604</c:v>
                </c:pt>
                <c:pt idx="1">
                  <c:v>0.0016255288630401604</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2.862867557728453</c:v>
                </c:pt>
                <c:pt idx="1">
                  <c:v>2.862867557728453</c:v>
                </c:pt>
              </c:numCache>
            </c:numRef>
          </c:xVal>
          <c:yVal>
            <c:numRef>
              <c:f>Sheet1!$B$143:$B$144</c:f>
              <c:numCache>
                <c:formatCode>General</c:formatCode>
                <c:ptCount val="2"/>
                <c:pt idx="0">
                  <c:v>0.001625528863040160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3.515</c:v>
                </c:pt>
                <c:pt idx="1">
                  <c:v>3.53</c:v>
                </c:pt>
                <c:pt idx="2">
                  <c:v>3.5625</c:v>
                </c:pt>
                <c:pt idx="3">
                  <c:v>3.495</c:v>
                </c:pt>
                <c:pt idx="4">
                  <c:v>3.4024</c:v>
                </c:pt>
                <c:pt idx="5">
                  <c:v>3.4075</c:v>
                </c:pt>
                <c:pt idx="6">
                  <c:v>3.545</c:v>
                </c:pt>
                <c:pt idx="7">
                  <c:v>3.3775</c:v>
                </c:pt>
                <c:pt idx="8">
                  <c:v>3.4</c:v>
                </c:pt>
                <c:pt idx="9">
                  <c:v>3.36</c:v>
                </c:pt>
                <c:pt idx="10">
                  <c:v>3.3299</c:v>
                </c:pt>
                <c:pt idx="11">
                  <c:v>3.4601</c:v>
                </c:pt>
                <c:pt idx="12">
                  <c:v>3.3974</c:v>
                </c:pt>
                <c:pt idx="13">
                  <c:v>3.4575</c:v>
                </c:pt>
                <c:pt idx="14">
                  <c:v>3.3251</c:v>
                </c:pt>
                <c:pt idx="15">
                  <c:v>3.415</c:v>
                </c:pt>
                <c:pt idx="16">
                  <c:v>3.3701</c:v>
                </c:pt>
                <c:pt idx="17">
                  <c:v>3.2324</c:v>
                </c:pt>
                <c:pt idx="18">
                  <c:v>3.1775</c:v>
                </c:pt>
                <c:pt idx="19">
                  <c:v>3.2025</c:v>
                </c:pt>
                <c:pt idx="20">
                  <c:v>3.265</c:v>
                </c:pt>
                <c:pt idx="21">
                  <c:v>3.3</c:v>
                </c:pt>
                <c:pt idx="22">
                  <c:v>3.2851</c:v>
                </c:pt>
                <c:pt idx="23">
                  <c:v>3.1175</c:v>
                </c:pt>
                <c:pt idx="24">
                  <c:v>3.175</c:v>
                </c:pt>
                <c:pt idx="25">
                  <c:v>3.2026</c:v>
                </c:pt>
                <c:pt idx="26">
                  <c:v>3.1975</c:v>
                </c:pt>
                <c:pt idx="27">
                  <c:v>3.14</c:v>
                </c:pt>
                <c:pt idx="28">
                  <c:v>3.1801</c:v>
                </c:pt>
                <c:pt idx="29">
                  <c:v>3.155</c:v>
                </c:pt>
                <c:pt idx="30">
                  <c:v>3.2026</c:v>
                </c:pt>
                <c:pt idx="31">
                  <c:v>3.15</c:v>
                </c:pt>
                <c:pt idx="32">
                  <c:v>3.2225</c:v>
                </c:pt>
                <c:pt idx="33">
                  <c:v>3.2275</c:v>
                </c:pt>
                <c:pt idx="34">
                  <c:v>3.1925</c:v>
                </c:pt>
                <c:pt idx="35">
                  <c:v>3.0975</c:v>
                </c:pt>
                <c:pt idx="36">
                  <c:v>2.76</c:v>
                </c:pt>
                <c:pt idx="37">
                  <c:v>2.7849</c:v>
                </c:pt>
                <c:pt idx="38">
                  <c:v>3.0526</c:v>
                </c:pt>
                <c:pt idx="39">
                  <c:v>3.4975</c:v>
                </c:pt>
                <c:pt idx="40">
                  <c:v>3.1875</c:v>
                </c:pt>
                <c:pt idx="41">
                  <c:v>2.9376</c:v>
                </c:pt>
                <c:pt idx="42">
                  <c:v>3.1099</c:v>
                </c:pt>
                <c:pt idx="43">
                  <c:v>3.1401</c:v>
                </c:pt>
                <c:pt idx="44">
                  <c:v>3.1075</c:v>
                </c:pt>
                <c:pt idx="45">
                  <c:v>2.8125</c:v>
                </c:pt>
                <c:pt idx="46">
                  <c:v>2.75</c:v>
                </c:pt>
                <c:pt idx="47">
                  <c:v>2.7676</c:v>
                </c:pt>
                <c:pt idx="48">
                  <c:v>2.85</c:v>
                </c:pt>
                <c:pt idx="49">
                  <c:v>2.8499</c:v>
                </c:pt>
                <c:pt idx="50">
                  <c:v>2.9699</c:v>
                </c:pt>
                <c:pt idx="51">
                  <c:v>3.0025</c:v>
                </c:pt>
                <c:pt idx="52">
                  <c:v>2.8628675577284532</c:v>
                </c:pt>
                <c:pt idx="53">
                  <c:v>2.8189097878366702</c:v>
                </c:pt>
                <c:pt idx="54">
                  <c:v>2.862867557728453</c:v>
                </c:pt>
              </c:numCache>
            </c:numRef>
          </c:xVal>
          <c:yVal>
            <c:numRef>
              <c:f>Sheet1!$B$147:$B$201</c:f>
              <c:numCache>
                <c:formatCode>General</c:formatCode>
                <c:ptCount val="55"/>
                <c:pt idx="0">
                  <c:v>0.0012222064316629246</c:v>
                </c:pt>
                <c:pt idx="1">
                  <c:v>0.0012129294258302055</c:v>
                </c:pt>
                <c:pt idx="2">
                  <c:v>0.001192829246525981</c:v>
                </c:pt>
                <c:pt idx="3">
                  <c:v>0.0012345757727732169</c:v>
                </c:pt>
                <c:pt idx="4">
                  <c:v>0.0012918458221138698</c:v>
                </c:pt>
                <c:pt idx="5">
                  <c:v>0.001288691640130745</c:v>
                </c:pt>
                <c:pt idx="6">
                  <c:v>0.0012036524199974864</c:v>
                </c:pt>
                <c:pt idx="7">
                  <c:v>0.0013072456517961837</c:v>
                </c:pt>
                <c:pt idx="8">
                  <c:v>0.001293330143047105</c:v>
                </c:pt>
                <c:pt idx="9">
                  <c:v>0.0013180688252676896</c:v>
                </c:pt>
                <c:pt idx="10">
                  <c:v>0.0013366846836386794</c:v>
                </c:pt>
                <c:pt idx="11">
                  <c:v>0.0012561602730106767</c:v>
                </c:pt>
                <c:pt idx="12">
                  <c:v>0.001294938157391443</c:v>
                </c:pt>
                <c:pt idx="13">
                  <c:v>0.001257768287355015</c:v>
                </c:pt>
                <c:pt idx="14">
                  <c:v>0.0013396533255051494</c:v>
                </c:pt>
                <c:pt idx="15">
                  <c:v>0.001284053137214386</c:v>
                </c:pt>
                <c:pt idx="16">
                  <c:v>0.0013118223080069921</c:v>
                </c:pt>
                <c:pt idx="17">
                  <c:v>0.0013969852215513535</c:v>
                </c:pt>
                <c:pt idx="18">
                  <c:v>0.0014309390628991056</c:v>
                </c:pt>
                <c:pt idx="19">
                  <c:v>0.0014154773865112406</c:v>
                </c:pt>
                <c:pt idx="20">
                  <c:v>0.0013768231955415774</c:v>
                </c:pt>
                <c:pt idx="21">
                  <c:v>0.001355176848598566</c:v>
                </c:pt>
                <c:pt idx="22">
                  <c:v>0.001364392007725734</c:v>
                </c:pt>
                <c:pt idx="23">
                  <c:v>0.0014680470862299825</c:v>
                </c:pt>
                <c:pt idx="24">
                  <c:v>0.0014324852305378924</c:v>
                </c:pt>
                <c:pt idx="25">
                  <c:v>0.001415415539805689</c:v>
                </c:pt>
                <c:pt idx="26">
                  <c:v>0.0014185697217888138</c:v>
                </c:pt>
                <c:pt idx="27">
                  <c:v>0.0014541315774809038</c:v>
                </c:pt>
                <c:pt idx="28">
                  <c:v>0.0014293310485547681</c:v>
                </c:pt>
                <c:pt idx="29">
                  <c:v>0.0014448545716481847</c:v>
                </c:pt>
                <c:pt idx="30">
                  <c:v>0.001415415539805689</c:v>
                </c:pt>
                <c:pt idx="31">
                  <c:v>0.0014479469069257577</c:v>
                </c:pt>
                <c:pt idx="32">
                  <c:v>0.0014031080454009483</c:v>
                </c:pt>
                <c:pt idx="33">
                  <c:v>0.0014000157101233751</c:v>
                </c:pt>
                <c:pt idx="34">
                  <c:v>0.001421662057066387</c:v>
                </c:pt>
                <c:pt idx="35">
                  <c:v>0.0014804164273402747</c:v>
                </c:pt>
                <c:pt idx="36">
                  <c:v>0.001689149058576456</c:v>
                </c:pt>
                <c:pt idx="37">
                  <c:v>0.0016737492288941421</c:v>
                </c:pt>
                <c:pt idx="38">
                  <c:v>0.001508185598132881</c:v>
                </c:pt>
                <c:pt idx="39">
                  <c:v>0.0012330296051344305</c:v>
                </c:pt>
                <c:pt idx="40">
                  <c:v>0.0014247543923439597</c:v>
                </c:pt>
                <c:pt idx="41">
                  <c:v>0.001579309309517061</c:v>
                </c:pt>
                <c:pt idx="42">
                  <c:v>0.0014727474358518936</c:v>
                </c:pt>
                <c:pt idx="43">
                  <c:v>0.0014540697307753524</c:v>
                </c:pt>
                <c:pt idx="44">
                  <c:v>0.0014742317567851286</c:v>
                </c:pt>
                <c:pt idx="45">
                  <c:v>0.001656679538161939</c:v>
                </c:pt>
                <c:pt idx="46">
                  <c:v>0.0016953337291316021</c:v>
                </c:pt>
                <c:pt idx="47">
                  <c:v>0.0016844487089545449</c:v>
                </c:pt>
                <c:pt idx="48">
                  <c:v>0.001633487023580141</c:v>
                </c:pt>
                <c:pt idx="49">
                  <c:v>0.0016335488702856925</c:v>
                </c:pt>
                <c:pt idx="50">
                  <c:v>0.001559332823623939</c:v>
                </c:pt>
                <c:pt idx="51">
                  <c:v>0.0015391707976141627</c:v>
                </c:pt>
                <c:pt idx="52">
                  <c:v>0.0016255288630401602</c:v>
                </c:pt>
                <c:pt idx="53">
                  <c:v>0.00165271529555212</c:v>
                </c:pt>
                <c:pt idx="54">
                  <c:v>0.001625528863040160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5.0"/>
          <c:min val="2.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30206971400353103"/>
          <c:min val="0.0003744499268810048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996769866688566</c:v>
                </c:pt>
                <c:pt idx="1">
                  <c:v>0.9148107515085024</c:v>
                </c:pt>
                <c:pt idx="2">
                  <c:v>1.0388831839249535</c:v>
                </c:pt>
                <c:pt idx="3">
                  <c:v>1.0319392684610076</c:v>
                </c:pt>
                <c:pt idx="4">
                  <c:v>1.0233747061074963</c:v>
                </c:pt>
                <c:pt idx="5">
                  <c:v>1.0192176452924957</c:v>
                </c:pt>
                <c:pt idx="6">
                  <c:v>0.9896390099498397</c:v>
                </c:pt>
                <c:pt idx="7">
                  <c:v>0.9017979875735415</c:v>
                </c:pt>
                <c:pt idx="8">
                  <c:v>0.932408630559225</c:v>
                </c:pt>
                <c:pt idx="9">
                  <c:v>0.8998600400669612</c:v>
                </c:pt>
                <c:pt idx="10">
                  <c:v>0.9708559521851181</c:v>
                </c:pt>
                <c:pt idx="11">
                  <c:v>0.9593866783908551</c:v>
                </c:pt>
                <c:pt idx="12">
                  <c:v>0.9572902131385264</c:v>
                </c:pt>
                <c:pt idx="13">
                  <c:v>0.9544183521107642</c:v>
                </c:pt>
                <c:pt idx="14">
                  <c:v>0.9329337744752401</c:v>
                </c:pt>
                <c:pt idx="15">
                  <c:v>0.9672912467999345</c:v>
                </c:pt>
                <c:pt idx="16">
                  <c:v>0.9532928919235059</c:v>
                </c:pt>
                <c:pt idx="17">
                  <c:v>0.9902371369520288</c:v>
                </c:pt>
                <c:pt idx="18">
                  <c:v>0.949730259931339</c:v>
                </c:pt>
                <c:pt idx="19">
                  <c:v>0.9578847969782813</c:v>
                </c:pt>
                <c:pt idx="20">
                  <c:v>0.9563718942025113</c:v>
                </c:pt>
                <c:pt idx="21">
                  <c:v>0.977109204285029</c:v>
                </c:pt>
                <c:pt idx="22">
                  <c:v>0.957876730635591</c:v>
                </c:pt>
                <c:pt idx="23">
                  <c:v>0.9727493261455527</c:v>
                </c:pt>
                <c:pt idx="24">
                  <c:v>0.9922688802083334</c:v>
                </c:pt>
                <c:pt idx="25">
                  <c:v>0.972476815445523</c:v>
                </c:pt>
                <c:pt idx="26">
                  <c:v>1.000732779677577</c:v>
                </c:pt>
                <c:pt idx="27">
                  <c:v>1.0095605410397088</c:v>
                </c:pt>
                <c:pt idx="28">
                  <c:v>0.9893446410611867</c:v>
                </c:pt>
                <c:pt idx="29">
                  <c:v>0.9978818737270876</c:v>
                </c:pt>
                <c:pt idx="30">
                  <c:v>0.9682604217487938</c:v>
                </c:pt>
                <c:pt idx="31">
                  <c:v>1.01050916496945</c:v>
                </c:pt>
                <c:pt idx="32">
                  <c:v>0.9987552428629415</c:v>
                </c:pt>
                <c:pt idx="33">
                  <c:v>1.003174172544764</c:v>
                </c:pt>
                <c:pt idx="34">
                  <c:v>1.0110993514070938</c:v>
                </c:pt>
                <c:pt idx="35">
                  <c:v>0.9892802865827183</c:v>
                </c:pt>
                <c:pt idx="36">
                  <c:v>0.9878611774929394</c:v>
                </c:pt>
                <c:pt idx="37">
                  <c:v>0.9878065302804498</c:v>
                </c:pt>
                <c:pt idx="38">
                  <c:v>1.0150547569227426</c:v>
                </c:pt>
                <c:pt idx="39">
                  <c:v>1.0043138531662055</c:v>
                </c:pt>
                <c:pt idx="40">
                  <c:v>1.0082673846237524</c:v>
                </c:pt>
                <c:pt idx="41">
                  <c:v>0.9952232324603068</c:v>
                </c:pt>
                <c:pt idx="42">
                  <c:v>0.9895094442179644</c:v>
                </c:pt>
                <c:pt idx="43">
                  <c:v>0.997795678441191</c:v>
                </c:pt>
                <c:pt idx="44">
                  <c:v>1.0152543292980838</c:v>
                </c:pt>
                <c:pt idx="45">
                  <c:v>0.9915653143961037</c:v>
                </c:pt>
                <c:pt idx="46">
                  <c:v>0.9886904761904761</c:v>
                </c:pt>
                <c:pt idx="47">
                  <c:v>1.011437285550896</c:v>
                </c:pt>
                <c:pt idx="48">
                  <c:v>1.0234436833055867</c:v>
                </c:pt>
                <c:pt idx="49">
                  <c:v>0.923187009770194</c:v>
                </c:pt>
                <c:pt idx="50">
                  <c:v>0.8212845345551318</c:v>
                </c:pt>
                <c:pt idx="51">
                  <c:v>0.7787572215140091</c:v>
                </c:pt>
                <c:pt idx="52">
                  <c:v>0.8029292107404394</c:v>
                </c:pt>
                <c:pt idx="53">
                  <c:v>0.3324804588652084</c:v>
                </c:pt>
                <c:pt idx="54">
                  <c:v>0.2535172184144074</c:v>
                </c:pt>
                <c:pt idx="55">
                  <c:v>0.24105451050391322</c:v>
                </c:pt>
                <c:pt idx="56">
                  <c:v>0.21836941350337996</c:v>
                </c:pt>
                <c:pt idx="57">
                  <c:v>0.24319960593289916</c:v>
                </c:pt>
                <c:pt idx="58">
                  <c:v>0.23612404799737002</c:v>
                </c:pt>
                <c:pt idx="59">
                  <c:v>0.2460202604920405</c:v>
                </c:pt>
                <c:pt idx="60">
                  <c:v>0.27877663492756394</c:v>
                </c:pt>
                <c:pt idx="61">
                  <c:v>0.32467852932306085</c:v>
                </c:pt>
                <c:pt idx="62">
                  <c:v>0.2705387848681696</c:v>
                </c:pt>
                <c:pt idx="63">
                  <c:v>0.21151586368977673</c:v>
                </c:pt>
                <c:pt idx="64">
                  <c:v>0.28552286151826733</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3011742217367559</c:v>
                </c:pt>
                <c:pt idx="1">
                  <c:v>0.274092752987611</c:v>
                </c:pt>
                <c:pt idx="2">
                  <c:v>0.3085996433959676</c:v>
                </c:pt>
                <c:pt idx="3">
                  <c:v>0.27630858519491897</c:v>
                </c:pt>
                <c:pt idx="4">
                  <c:v>0.32783302371325534</c:v>
                </c:pt>
                <c:pt idx="5">
                  <c:v>0.26006022447303584</c:v>
                </c:pt>
                <c:pt idx="6">
                  <c:v>0.30988146610586115</c:v>
                </c:pt>
                <c:pt idx="7">
                  <c:v>0.23454699407281968</c:v>
                </c:pt>
                <c:pt idx="8">
                  <c:v>0.4033803893727985</c:v>
                </c:pt>
                <c:pt idx="9">
                  <c:v>0.3956775637177318</c:v>
                </c:pt>
                <c:pt idx="10">
                  <c:v>0.2633377997757664</c:v>
                </c:pt>
                <c:pt idx="11">
                  <c:v>0.44101062082557757</c:v>
                </c:pt>
                <c:pt idx="12">
                  <c:v>0.4291500191560397</c:v>
                </c:pt>
                <c:pt idx="13">
                  <c:v>0.2047166721257779</c:v>
                </c:pt>
                <c:pt idx="14">
                  <c:v>0.2892768079800499</c:v>
                </c:pt>
                <c:pt idx="15">
                  <c:v>0.19848060995008504</c:v>
                </c:pt>
                <c:pt idx="16">
                  <c:v>0.19485557083906468</c:v>
                </c:pt>
                <c:pt idx="17">
                  <c:v>0.4814835195069609</c:v>
                </c:pt>
                <c:pt idx="18">
                  <c:v>0.43365713654928795</c:v>
                </c:pt>
                <c:pt idx="19">
                  <c:v>0.24129277776245758</c:v>
                </c:pt>
                <c:pt idx="20">
                  <c:v>0.531133816198948</c:v>
                </c:pt>
                <c:pt idx="21">
                  <c:v>0.2745593322717039</c:v>
                </c:pt>
                <c:pt idx="22">
                  <c:v>0.3866904500548847</c:v>
                </c:pt>
                <c:pt idx="23">
                  <c:v>0.5479001725885544</c:v>
                </c:pt>
                <c:pt idx="24">
                  <c:v>0.1595066859908666</c:v>
                </c:pt>
                <c:pt idx="25">
                  <c:v>0.4681556590846807</c:v>
                </c:pt>
                <c:pt idx="26">
                  <c:v>0.137536447158497</c:v>
                </c:pt>
                <c:pt idx="27">
                  <c:v>0.41103773326391363</c:v>
                </c:pt>
                <c:pt idx="28">
                  <c:v>0.3971297107800175</c:v>
                </c:pt>
                <c:pt idx="29">
                  <c:v>0.46267101691662327</c:v>
                </c:pt>
                <c:pt idx="30">
                  <c:v>1.0250662876199328</c:v>
                </c:pt>
                <c:pt idx="31">
                  <c:v>0.3643792189336175</c:v>
                </c:pt>
                <c:pt idx="32">
                  <c:v>0.48162928306041003</c:v>
                </c:pt>
                <c:pt idx="33">
                  <c:v>0.2766481312418735</c:v>
                </c:pt>
                <c:pt idx="34">
                  <c:v>0.13820553927801427</c:v>
                </c:pt>
                <c:pt idx="35">
                  <c:v>0.3643395644740899</c:v>
                </c:pt>
                <c:pt idx="36">
                  <c:v>0.5258139600100956</c:v>
                </c:pt>
                <c:pt idx="37">
                  <c:v>0.579080498109851</c:v>
                </c:pt>
                <c:pt idx="38">
                  <c:v>1.0597111933760985</c:v>
                </c:pt>
                <c:pt idx="39">
                  <c:v>1.0033313402237978</c:v>
                </c:pt>
                <c:pt idx="40">
                  <c:v>1.0588761322333122</c:v>
                </c:pt>
                <c:pt idx="41">
                  <c:v>1.075448684439798</c:v>
                </c:pt>
                <c:pt idx="42">
                  <c:v>1.0778044616764562</c:v>
                </c:pt>
                <c:pt idx="43">
                  <c:v>1.0742346792257766</c:v>
                </c:pt>
                <c:pt idx="44">
                  <c:v>1.0480327317565294</c:v>
                </c:pt>
                <c:pt idx="45">
                  <c:v>1.0233532278377047</c:v>
                </c:pt>
                <c:pt idx="46">
                  <c:v>1.0206860791965724</c:v>
                </c:pt>
                <c:pt idx="47">
                  <c:v>1.0164077167968217</c:v>
                </c:pt>
                <c:pt idx="48">
                  <c:v>0.9895219739949511</c:v>
                </c:pt>
                <c:pt idx="49">
                  <c:v>1.0085611335374278</c:v>
                </c:pt>
                <c:pt idx="50">
                  <c:v>1.0115636678762931</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2.267989775322664</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2.267989775322664</c:v>
                </c:pt>
                <c:pt idx="1">
                  <c:v>2.267989775322664</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1610334711720385</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1610334711720385</c:v>
                </c:pt>
                <c:pt idx="1">
                  <c:v>1.1610334711720385</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1610334711720385</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1610334711720385</c:v>
                </c:pt>
                <c:pt idx="1">
                  <c:v>1.1610334711720385</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3011742217367559</c:v>
                </c:pt>
                <c:pt idx="1">
                  <c:v>0.274092752987611</c:v>
                </c:pt>
                <c:pt idx="2">
                  <c:v>0.3085996433959676</c:v>
                </c:pt>
                <c:pt idx="3">
                  <c:v>0.27630858519491897</c:v>
                </c:pt>
                <c:pt idx="4">
                  <c:v>0.32783302371325534</c:v>
                </c:pt>
                <c:pt idx="5">
                  <c:v>0.26006022447303584</c:v>
                </c:pt>
                <c:pt idx="6">
                  <c:v>0.30988146610586115</c:v>
                </c:pt>
                <c:pt idx="7">
                  <c:v>0.23454699407281968</c:v>
                </c:pt>
                <c:pt idx="8">
                  <c:v>0.4033803893727985</c:v>
                </c:pt>
                <c:pt idx="9">
                  <c:v>0.3956775637177318</c:v>
                </c:pt>
                <c:pt idx="10">
                  <c:v>0.2633377997757664</c:v>
                </c:pt>
                <c:pt idx="11">
                  <c:v>0.44101062082557757</c:v>
                </c:pt>
                <c:pt idx="12">
                  <c:v>0.4291500191560397</c:v>
                </c:pt>
                <c:pt idx="13">
                  <c:v>0.2047166721257779</c:v>
                </c:pt>
                <c:pt idx="14">
                  <c:v>0.2892768079800499</c:v>
                </c:pt>
                <c:pt idx="15">
                  <c:v>0.19848060995008504</c:v>
                </c:pt>
                <c:pt idx="16">
                  <c:v>0.19485557083906468</c:v>
                </c:pt>
                <c:pt idx="17">
                  <c:v>0.4814835195069609</c:v>
                </c:pt>
                <c:pt idx="18">
                  <c:v>0.43365713654928795</c:v>
                </c:pt>
                <c:pt idx="19">
                  <c:v>0.24129277776245758</c:v>
                </c:pt>
                <c:pt idx="20">
                  <c:v>0.531133816198948</c:v>
                </c:pt>
                <c:pt idx="21">
                  <c:v>0.2745593322717039</c:v>
                </c:pt>
                <c:pt idx="22">
                  <c:v>0.3866904500548847</c:v>
                </c:pt>
                <c:pt idx="23">
                  <c:v>0.5479001725885544</c:v>
                </c:pt>
                <c:pt idx="24">
                  <c:v>0.1595066859908666</c:v>
                </c:pt>
                <c:pt idx="25">
                  <c:v>0.4681556590846807</c:v>
                </c:pt>
                <c:pt idx="26">
                  <c:v>0.137536447158497</c:v>
                </c:pt>
                <c:pt idx="27">
                  <c:v>0.41103773326391363</c:v>
                </c:pt>
                <c:pt idx="28">
                  <c:v>0.3971297107800175</c:v>
                </c:pt>
                <c:pt idx="29">
                  <c:v>0.46267101691662327</c:v>
                </c:pt>
                <c:pt idx="30">
                  <c:v>1.0250662876199328</c:v>
                </c:pt>
                <c:pt idx="31">
                  <c:v>0.3643792189336175</c:v>
                </c:pt>
                <c:pt idx="32">
                  <c:v>0.48162928306041003</c:v>
                </c:pt>
                <c:pt idx="33">
                  <c:v>0.2766481312418735</c:v>
                </c:pt>
                <c:pt idx="34">
                  <c:v>0.13820553927801427</c:v>
                </c:pt>
                <c:pt idx="35">
                  <c:v>0.3643395644740899</c:v>
                </c:pt>
                <c:pt idx="36">
                  <c:v>0.5258139600100956</c:v>
                </c:pt>
                <c:pt idx="37">
                  <c:v>0.579080498109851</c:v>
                </c:pt>
                <c:pt idx="38">
                  <c:v>1.0597111933760985</c:v>
                </c:pt>
                <c:pt idx="39">
                  <c:v>1.0033313402237978</c:v>
                </c:pt>
                <c:pt idx="40">
                  <c:v>1.0588761322333122</c:v>
                </c:pt>
                <c:pt idx="41">
                  <c:v>1.075448684439798</c:v>
                </c:pt>
                <c:pt idx="42">
                  <c:v>1.0778044616764562</c:v>
                </c:pt>
                <c:pt idx="43">
                  <c:v>1.0742346792257766</c:v>
                </c:pt>
                <c:pt idx="44">
                  <c:v>1.0480327317565294</c:v>
                </c:pt>
                <c:pt idx="45">
                  <c:v>1.0233532278377047</c:v>
                </c:pt>
                <c:pt idx="46">
                  <c:v>1.0206860791965724</c:v>
                </c:pt>
                <c:pt idx="47">
                  <c:v>1.0164077167968217</c:v>
                </c:pt>
                <c:pt idx="48">
                  <c:v>0.9895219739949511</c:v>
                </c:pt>
                <c:pt idx="49">
                  <c:v>1.0085611335374278</c:v>
                </c:pt>
                <c:pt idx="50">
                  <c:v>1.0115636678762931</c:v>
                </c:pt>
                <c:pt idx="51">
                  <c:v>1.1610334711720385</c:v>
                </c:pt>
                <c:pt idx="52">
                  <c:v>2.267989775322664</c:v>
                </c:pt>
                <c:pt idx="53">
                  <c:v>1.1610334711720385</c:v>
                </c:pt>
              </c:numCache>
            </c:numRef>
          </c:xVal>
          <c:yVal>
            <c:numRef>
              <c:f>Sheet1!$B$146:$B$199</c:f>
              <c:numCache>
                <c:formatCode>General</c:formatCode>
                <c:ptCount val="54"/>
                <c:pt idx="0">
                  <c:v>1.919241825288403e-05</c:v>
                </c:pt>
                <c:pt idx="1">
                  <c:v>5.855864733176589e-07</c:v>
                </c:pt>
                <c:pt idx="2">
                  <c:v>2.4294193676702722e-05</c:v>
                </c:pt>
                <c:pt idx="3">
                  <c:v>2.1080156116717733e-06</c:v>
                </c:pt>
                <c:pt idx="4">
                  <c:v>3.750884888728819e-05</c:v>
                </c:pt>
                <c:pt idx="5">
                  <c:v>-9.055725817800692e-06</c:v>
                </c:pt>
                <c:pt idx="6">
                  <c:v>2.517489404621167e-05</c:v>
                </c:pt>
                <c:pt idx="7">
                  <c:v>-2.6585069983269184e-05</c:v>
                </c:pt>
                <c:pt idx="8">
                  <c:v>8.941508548167133e-05</c:v>
                </c:pt>
                <c:pt idx="9">
                  <c:v>8.41227144319778e-05</c:v>
                </c:pt>
                <c:pt idx="10">
                  <c:v>-6.8038061428497354e-06</c:v>
                </c:pt>
                <c:pt idx="11">
                  <c:v>0.00011526964281583052</c:v>
                </c:pt>
                <c:pt idx="12">
                  <c:v>0.00010712059365923691</c:v>
                </c:pt>
                <c:pt idx="13">
                  <c:v>-4.708055298459048e-05</c:v>
                </c:pt>
                <c:pt idx="14">
                  <c:v>1.101807666035437e-05</c:v>
                </c:pt>
                <c:pt idx="15">
                  <c:v>-5.1365156635332194e-05</c:v>
                </c:pt>
                <c:pt idx="16">
                  <c:v>-5.385580784623574e-05</c:v>
                </c:pt>
                <c:pt idx="17">
                  <c:v>0.00014307730806366578</c:v>
                </c:pt>
                <c:pt idx="18">
                  <c:v>0.00011021729332215958</c:v>
                </c:pt>
                <c:pt idx="19">
                  <c:v>-2.195025259219257e-05</c:v>
                </c:pt>
                <c:pt idx="20">
                  <c:v>0.0001771904769951896</c:v>
                </c:pt>
                <c:pt idx="21">
                  <c:v>9.061585342854252e-07</c:v>
                </c:pt>
                <c:pt idx="22">
                  <c:v>7.794794918355614e-05</c:v>
                </c:pt>
                <c:pt idx="23">
                  <c:v>0.00018871011707776507</c:v>
                </c:pt>
                <c:pt idx="24">
                  <c:v>-7.814292314482722e-05</c:v>
                </c:pt>
                <c:pt idx="25">
                  <c:v>0.00013392015122124973</c:v>
                </c:pt>
                <c:pt idx="26">
                  <c:v>-9.323798840504156e-05</c:v>
                </c:pt>
                <c:pt idx="27">
                  <c:v>9.467620743115081e-05</c:v>
                </c:pt>
                <c:pt idx="28">
                  <c:v>8.512043934702678e-05</c:v>
                </c:pt>
                <c:pt idx="29">
                  <c:v>0.00013015182480079356</c:v>
                </c:pt>
                <c:pt idx="30">
                  <c:v>0.0005165560590958992</c:v>
                </c:pt>
                <c:pt idx="31">
                  <c:v>6.261859876634314e-05</c:v>
                </c:pt>
                <c:pt idx="32">
                  <c:v>0.00014317745765096265</c:v>
                </c:pt>
                <c:pt idx="33">
                  <c:v>2.341307100978433e-06</c:v>
                </c:pt>
                <c:pt idx="34">
                  <c:v>-9.277827609666522e-05</c:v>
                </c:pt>
                <c:pt idx="35">
                  <c:v>6.259135342508873e-05</c:v>
                </c:pt>
                <c:pt idx="36">
                  <c:v>0.00017353536987694713</c:v>
                </c:pt>
                <c:pt idx="37">
                  <c:v>0.00021013314539210657</c:v>
                </c:pt>
                <c:pt idx="38">
                  <c:v>0.0005403594923363604</c:v>
                </c:pt>
                <c:pt idx="39">
                  <c:v>0.0005016226552364657</c:v>
                </c:pt>
                <c:pt idx="40">
                  <c:v>0.0005397857478931249</c:v>
                </c:pt>
                <c:pt idx="41">
                  <c:v>0.000551172231171433</c:v>
                </c:pt>
                <c:pt idx="42">
                  <c:v>0.0005527908121708116</c:v>
                </c:pt>
                <c:pt idx="43">
                  <c:v>0.0005503381260862898</c:v>
                </c:pt>
                <c:pt idx="44">
                  <c:v>0.000532335585922263</c:v>
                </c:pt>
                <c:pt idx="45">
                  <c:v>0.0005153790691958494</c:v>
                </c:pt>
                <c:pt idx="46">
                  <c:v>0.0005135465546244891</c:v>
                </c:pt>
                <c:pt idx="47">
                  <c:v>0.0005106070253765898</c:v>
                </c:pt>
                <c:pt idx="48">
                  <c:v>0.0004921346707854493</c:v>
                </c:pt>
                <c:pt idx="49">
                  <c:v>0.0005052158829646216</c:v>
                </c:pt>
                <c:pt idx="50">
                  <c:v>0.0005072788305792115</c:v>
                </c:pt>
                <c:pt idx="51">
                  <c:v>0.0006099748664482639</c:v>
                </c:pt>
                <c:pt idx="52">
                  <c:v>0.0013705299873484752</c:v>
                </c:pt>
                <c:pt idx="53">
                  <c:v>0.000609974866448263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6413</c:v>
                </c:pt>
                <c:pt idx="1">
                  <c:v>3.3354</c:v>
                </c:pt>
                <c:pt idx="2">
                  <c:v>3.7432</c:v>
                </c:pt>
                <c:pt idx="3">
                  <c:v>3.7382</c:v>
                </c:pt>
                <c:pt idx="4">
                  <c:v>3.7433</c:v>
                </c:pt>
                <c:pt idx="5">
                  <c:v>3.7337</c:v>
                </c:pt>
                <c:pt idx="6">
                  <c:v>3.6105</c:v>
                </c:pt>
                <c:pt idx="7">
                  <c:v>3.2802</c:v>
                </c:pt>
                <c:pt idx="8">
                  <c:v>3.388</c:v>
                </c:pt>
                <c:pt idx="9">
                  <c:v>3.279</c:v>
                </c:pt>
                <c:pt idx="10">
                  <c:v>3.5411</c:v>
                </c:pt>
                <c:pt idx="11">
                  <c:v>3.4914</c:v>
                </c:pt>
                <c:pt idx="12">
                  <c:v>3.4988</c:v>
                </c:pt>
                <c:pt idx="13">
                  <c:v>3.5156</c:v>
                </c:pt>
                <c:pt idx="14">
                  <c:v>3.4401</c:v>
                </c:pt>
                <c:pt idx="15">
                  <c:v>3.5517</c:v>
                </c:pt>
                <c:pt idx="16">
                  <c:v>3.5044</c:v>
                </c:pt>
                <c:pt idx="17">
                  <c:v>3.6413</c:v>
                </c:pt>
                <c:pt idx="18">
                  <c:v>3.4857</c:v>
                </c:pt>
                <c:pt idx="19">
                  <c:v>3.5504</c:v>
                </c:pt>
                <c:pt idx="20">
                  <c:v>3.5797</c:v>
                </c:pt>
                <c:pt idx="21">
                  <c:v>3.6667</c:v>
                </c:pt>
                <c:pt idx="22">
                  <c:v>3.5838</c:v>
                </c:pt>
                <c:pt idx="23">
                  <c:v>3.6089</c:v>
                </c:pt>
                <c:pt idx="24">
                  <c:v>3.6579</c:v>
                </c:pt>
                <c:pt idx="25">
                  <c:v>3.5863</c:v>
                </c:pt>
                <c:pt idx="26">
                  <c:v>3.6873</c:v>
                </c:pt>
                <c:pt idx="27">
                  <c:v>3.717</c:v>
                </c:pt>
                <c:pt idx="28">
                  <c:v>3.6397</c:v>
                </c:pt>
                <c:pt idx="29">
                  <c:v>3.6747</c:v>
                </c:pt>
                <c:pt idx="30">
                  <c:v>3.5723</c:v>
                </c:pt>
                <c:pt idx="31">
                  <c:v>3.7212</c:v>
                </c:pt>
                <c:pt idx="32">
                  <c:v>3.6909</c:v>
                </c:pt>
                <c:pt idx="33">
                  <c:v>3.6977</c:v>
                </c:pt>
                <c:pt idx="34">
                  <c:v>3.7258</c:v>
                </c:pt>
                <c:pt idx="35">
                  <c:v>3.6453</c:v>
                </c:pt>
                <c:pt idx="36">
                  <c:v>3.6377</c:v>
                </c:pt>
                <c:pt idx="37">
                  <c:v>3.6455</c:v>
                </c:pt>
                <c:pt idx="38">
                  <c:v>3.7353</c:v>
                </c:pt>
                <c:pt idx="39">
                  <c:v>3.7017</c:v>
                </c:pt>
                <c:pt idx="40">
                  <c:v>3.7075</c:v>
                </c:pt>
                <c:pt idx="41">
                  <c:v>3.6669</c:v>
                </c:pt>
                <c:pt idx="42">
                  <c:v>3.6409</c:v>
                </c:pt>
                <c:pt idx="43">
                  <c:v>3.6665</c:v>
                </c:pt>
                <c:pt idx="44">
                  <c:v>3.7404</c:v>
                </c:pt>
                <c:pt idx="45">
                  <c:v>3.6443</c:v>
                </c:pt>
                <c:pt idx="46">
                  <c:v>3.6542</c:v>
                </c:pt>
                <c:pt idx="47">
                  <c:v>3.7142</c:v>
                </c:pt>
                <c:pt idx="48">
                  <c:v>3.75</c:v>
                </c:pt>
                <c:pt idx="49">
                  <c:v>3.3544</c:v>
                </c:pt>
                <c:pt idx="50">
                  <c:v>2.9935</c:v>
                </c:pt>
                <c:pt idx="51">
                  <c:v>2.8712</c:v>
                </c:pt>
                <c:pt idx="52">
                  <c:v>2.9604</c:v>
                </c:pt>
                <c:pt idx="53">
                  <c:v>1.1825</c:v>
                </c:pt>
                <c:pt idx="54">
                  <c:v>0.9136</c:v>
                </c:pt>
                <c:pt idx="55">
                  <c:v>0.8778</c:v>
                </c:pt>
                <c:pt idx="56">
                  <c:v>0.7979</c:v>
                </c:pt>
                <c:pt idx="57">
                  <c:v>0.8887</c:v>
                </c:pt>
                <c:pt idx="58">
                  <c:v>0.8619</c:v>
                </c:pt>
                <c:pt idx="59">
                  <c:v>0.901</c:v>
                </c:pt>
                <c:pt idx="60">
                  <c:v>1.0218</c:v>
                </c:pt>
                <c:pt idx="61">
                  <c:v>1.1842</c:v>
                </c:pt>
                <c:pt idx="62">
                  <c:v>0.9912</c:v>
                </c:pt>
                <c:pt idx="63">
                  <c:v>0.774</c:v>
                </c:pt>
                <c:pt idx="64">
                  <c:v>1.0441</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8.03341191276272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033411912762721</c:v>
                </c:pt>
                <c:pt idx="1">
                  <c:v>8.03341191276272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4.13536226541264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4.135362265412641</c:v>
                </c:pt>
                <c:pt idx="1">
                  <c:v>4.13536226541264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4.13536226541264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4.135362265412641</c:v>
                </c:pt>
                <c:pt idx="1">
                  <c:v>4.13536226541264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pt idx="51">
                  <c:v>4.135362265412641</c:v>
                </c:pt>
                <c:pt idx="52">
                  <c:v>8.033411912762721</c:v>
                </c:pt>
                <c:pt idx="53">
                  <c:v>4.135362265412641</c:v>
                </c:pt>
              </c:numCache>
            </c:numRef>
          </c:xVal>
          <c:yVal>
            <c:numRef>
              <c:f>Sheet1!$B$146:$B$199</c:f>
              <c:numCache>
                <c:formatCode>General</c:formatCode>
                <c:ptCount val="54"/>
                <c:pt idx="0">
                  <c:v>1.83059772477086e-05</c:v>
                </c:pt>
                <c:pt idx="1">
                  <c:v>-1.7710174087945873e-06</c:v>
                </c:pt>
                <c:pt idx="2">
                  <c:v>2.2617945973740886e-05</c:v>
                </c:pt>
                <c:pt idx="3">
                  <c:v>4.3521466866079574e-08</c:v>
                </c:pt>
                <c:pt idx="4">
                  <c:v>3.7251324003262154e-05</c:v>
                </c:pt>
                <c:pt idx="5">
                  <c:v>-1.1526602761808793e-05</c:v>
                </c:pt>
                <c:pt idx="6">
                  <c:v>2.44910183615196e-05</c:v>
                </c:pt>
                <c:pt idx="7">
                  <c:v>-2.934030161641266e-05</c:v>
                </c:pt>
                <c:pt idx="8">
                  <c:v>9.135580037107884e-05</c:v>
                </c:pt>
                <c:pt idx="9">
                  <c:v>8.602925076833305e-05</c:v>
                </c:pt>
                <c:pt idx="10">
                  <c:v>-8.990150570025097e-06</c:v>
                </c:pt>
                <c:pt idx="11">
                  <c:v>0.0001174617467757448</c:v>
                </c:pt>
                <c:pt idx="12">
                  <c:v>0.00010909145454285864</c:v>
                </c:pt>
                <c:pt idx="13">
                  <c:v>-5.0548944173865507e-05</c:v>
                </c:pt>
                <c:pt idx="14">
                  <c:v>9.077193503757202e-06</c:v>
                </c:pt>
                <c:pt idx="15">
                  <c:v>-5.5680382069550974e-05</c:v>
                </c:pt>
                <c:pt idx="16">
                  <c:v>-5.868510235827935e-05</c:v>
                </c:pt>
                <c:pt idx="17">
                  <c:v>0.00014456276288641817</c:v>
                </c:pt>
                <c:pt idx="18">
                  <c:v>0.00010971581200545149</c:v>
                </c:pt>
                <c:pt idx="19">
                  <c:v>-2.615998079133006e-05</c:v>
                </c:pt>
                <c:pt idx="20">
                  <c:v>0.00017940971376738485</c:v>
                </c:pt>
                <c:pt idx="21">
                  <c:v>-1.7710174087945873e-06</c:v>
                </c:pt>
                <c:pt idx="22">
                  <c:v>7.804918194956748e-05</c:v>
                </c:pt>
                <c:pt idx="23">
                  <c:v>0.00019334068965148912</c:v>
                </c:pt>
                <c:pt idx="24">
                  <c:v>-8.30740657408148e-05</c:v>
                </c:pt>
                <c:pt idx="25">
                  <c:v>0.00013642660470200436</c:v>
                </c:pt>
                <c:pt idx="26">
                  <c:v>-9.932687093893644e-05</c:v>
                </c:pt>
                <c:pt idx="27">
                  <c:v>9.578483612134728e-05</c:v>
                </c:pt>
                <c:pt idx="28">
                  <c:v>8.602925076833305e-05</c:v>
                </c:pt>
                <c:pt idx="29">
                  <c:v>0.00013236828119515047</c:v>
                </c:pt>
                <c:pt idx="30">
                  <c:v>0.0005347861770069857</c:v>
                </c:pt>
                <c:pt idx="31">
                  <c:v>6.325971455439796e-05</c:v>
                </c:pt>
                <c:pt idx="32">
                  <c:v>0.00014456276288641817</c:v>
                </c:pt>
                <c:pt idx="33">
                  <c:v>-1.7710174087945873e-06</c:v>
                </c:pt>
                <c:pt idx="34">
                  <c:v>-9.932687093893644e-05</c:v>
                </c:pt>
                <c:pt idx="35">
                  <c:v>5.676249470929051e-05</c:v>
                </c:pt>
                <c:pt idx="36">
                  <c:v>0.00016895172626895367</c:v>
                </c:pt>
                <c:pt idx="37">
                  <c:v>0.00020959349484961075</c:v>
                </c:pt>
                <c:pt idx="38">
                  <c:v>0.0005347861770069857</c:v>
                </c:pt>
                <c:pt idx="39">
                  <c:v>0.0004906519088699495</c:v>
                </c:pt>
                <c:pt idx="40">
                  <c:v>0.0005193138186371051</c:v>
                </c:pt>
                <c:pt idx="41">
                  <c:v>0.0005256549491165643</c:v>
                </c:pt>
                <c:pt idx="42">
                  <c:v>0.0005299083843304785</c:v>
                </c:pt>
                <c:pt idx="43">
                  <c:v>0.0005329716381313249</c:v>
                </c:pt>
                <c:pt idx="44">
                  <c:v>0.0005327960375949707</c:v>
                </c:pt>
                <c:pt idx="45">
                  <c:v>0.0005324253253515561</c:v>
                </c:pt>
                <c:pt idx="46">
                  <c:v>0.0005328545711070888</c:v>
                </c:pt>
                <c:pt idx="47">
                  <c:v>0.0005319375460839054</c:v>
                </c:pt>
                <c:pt idx="48">
                  <c:v>0.000514357981277774</c:v>
                </c:pt>
                <c:pt idx="49">
                  <c:v>0.0005294596274042399</c:v>
                </c:pt>
                <c:pt idx="50">
                  <c:v>0.0005319180349131994</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024732649738151</c:v>
                </c:pt>
                <c:pt idx="1">
                  <c:v>1.4635366388767004</c:v>
                </c:pt>
                <c:pt idx="2">
                  <c:v>1.6363000524567233</c:v>
                </c:pt>
                <c:pt idx="3">
                  <c:v>1.6316180000872942</c:v>
                </c:pt>
                <c:pt idx="4">
                  <c:v>1.6339153208206025</c:v>
                </c:pt>
                <c:pt idx="5">
                  <c:v>1.627380900492525</c:v>
                </c:pt>
                <c:pt idx="6">
                  <c:v>1.5751243347002881</c:v>
                </c:pt>
                <c:pt idx="7">
                  <c:v>1.4330901306304338</c:v>
                </c:pt>
                <c:pt idx="8">
                  <c:v>1.4836223506743738</c:v>
                </c:pt>
                <c:pt idx="9">
                  <c:v>1.4452574047954865</c:v>
                </c:pt>
                <c:pt idx="10">
                  <c:v>1.5638138138138138</c:v>
                </c:pt>
                <c:pt idx="11">
                  <c:v>1.533804858762026</c:v>
                </c:pt>
                <c:pt idx="12">
                  <c:v>1.531739777602662</c:v>
                </c:pt>
                <c:pt idx="13">
                  <c:v>1.5354647099930119</c:v>
                </c:pt>
                <c:pt idx="14">
                  <c:v>1.4997384253204291</c:v>
                </c:pt>
                <c:pt idx="15">
                  <c:v>1.5491342085750426</c:v>
                </c:pt>
                <c:pt idx="16">
                  <c:v>1.5267055850832099</c:v>
                </c:pt>
                <c:pt idx="17">
                  <c:v>1.5860011324535042</c:v>
                </c:pt>
                <c:pt idx="18">
                  <c:v>1.5164447924823805</c:v>
                </c:pt>
                <c:pt idx="19">
                  <c:v>1.5435179549604383</c:v>
                </c:pt>
                <c:pt idx="20">
                  <c:v>1.556594338391964</c:v>
                </c:pt>
                <c:pt idx="21">
                  <c:v>1.595466016882778</c:v>
                </c:pt>
                <c:pt idx="22">
                  <c:v>1.5673737152853706</c:v>
                </c:pt>
                <c:pt idx="23">
                  <c:v>1.5762141858839973</c:v>
                </c:pt>
                <c:pt idx="24">
                  <c:v>1.5943425009806915</c:v>
                </c:pt>
                <c:pt idx="25">
                  <c:v>1.5607537644703628</c:v>
                </c:pt>
                <c:pt idx="26">
                  <c:v>1.606386686416311</c:v>
                </c:pt>
                <c:pt idx="27">
                  <c:v>1.622931493690783</c:v>
                </c:pt>
                <c:pt idx="28">
                  <c:v>1.5914735461303018</c:v>
                </c:pt>
                <c:pt idx="29">
                  <c:v>1.6038320530726258</c:v>
                </c:pt>
                <c:pt idx="30">
                  <c:v>1.5465171652452487</c:v>
                </c:pt>
                <c:pt idx="31">
                  <c:v>1.6116067561715026</c:v>
                </c:pt>
                <c:pt idx="32">
                  <c:v>1.600494341095356</c:v>
                </c:pt>
                <c:pt idx="33">
                  <c:v>1.6147866719070705</c:v>
                </c:pt>
                <c:pt idx="34">
                  <c:v>1.6306184078077817</c:v>
                </c:pt>
                <c:pt idx="35">
                  <c:v>1.5958061550584426</c:v>
                </c:pt>
                <c:pt idx="36">
                  <c:v>1.5894870226339246</c:v>
                </c:pt>
                <c:pt idx="37">
                  <c:v>1.5921299733589556</c:v>
                </c:pt>
                <c:pt idx="38">
                  <c:v>1.6293565976008724</c:v>
                </c:pt>
                <c:pt idx="39">
                  <c:v>1.6147001090512543</c:v>
                </c:pt>
                <c:pt idx="40">
                  <c:v>1.6190663347744445</c:v>
                </c:pt>
                <c:pt idx="41">
                  <c:v>1.5997295174941106</c:v>
                </c:pt>
                <c:pt idx="42">
                  <c:v>1.5901904262753317</c:v>
                </c:pt>
                <c:pt idx="43">
                  <c:v>1.602001136016079</c:v>
                </c:pt>
                <c:pt idx="44">
                  <c:v>1.6361488998731466</c:v>
                </c:pt>
                <c:pt idx="45">
                  <c:v>1.5910499890853524</c:v>
                </c:pt>
                <c:pt idx="46">
                  <c:v>1.5948847765363128</c:v>
                </c:pt>
                <c:pt idx="47">
                  <c:v>1.6240489724529952</c:v>
                </c:pt>
                <c:pt idx="48">
                  <c:v>1.6397026672496722</c:v>
                </c:pt>
                <c:pt idx="49">
                  <c:v>1.4673665791776027</c:v>
                </c:pt>
                <c:pt idx="50">
                  <c:v>1.3109836209161778</c:v>
                </c:pt>
                <c:pt idx="51">
                  <c:v>1.264678676826851</c:v>
                </c:pt>
                <c:pt idx="52">
                  <c:v>1.3019042174238094</c:v>
                </c:pt>
                <c:pt idx="53">
                  <c:v>0.5195290189358992</c:v>
                </c:pt>
                <c:pt idx="54">
                  <c:v>0.39926579844419197</c:v>
                </c:pt>
                <c:pt idx="55">
                  <c:v>0.38385516879482245</c:v>
                </c:pt>
                <c:pt idx="56">
                  <c:v>0.3480328011864259</c:v>
                </c:pt>
                <c:pt idx="57">
                  <c:v>0.38906400490324844</c:v>
                </c:pt>
                <c:pt idx="58">
                  <c:v>0.37882383966244726</c:v>
                </c:pt>
                <c:pt idx="59">
                  <c:v>0.3952101061496623</c:v>
                </c:pt>
                <c:pt idx="60">
                  <c:v>0.44707941369503396</c:v>
                </c:pt>
                <c:pt idx="61">
                  <c:v>0.5184309605113387</c:v>
                </c:pt>
                <c:pt idx="62">
                  <c:v>0.43325465512719646</c:v>
                </c:pt>
                <c:pt idx="63">
                  <c:v>0.33796175006549645</c:v>
                </c:pt>
                <c:pt idx="64">
                  <c:v>0.45536220506781805</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48159469018820145</c:v>
                </c:pt>
                <c:pt idx="1">
                  <c:v>0.4369101712687871</c:v>
                </c:pt>
                <c:pt idx="2">
                  <c:v>0.49083769633507857</c:v>
                </c:pt>
                <c:pt idx="3">
                  <c:v>0.4402233174859337</c:v>
                </c:pt>
                <c:pt idx="4">
                  <c:v>0.5227846998344515</c:v>
                </c:pt>
                <c:pt idx="5">
                  <c:v>0.41466608467917937</c:v>
                </c:pt>
                <c:pt idx="6">
                  <c:v>0.49481029219363276</c:v>
                </c:pt>
                <c:pt idx="7">
                  <c:v>0.3742264446962434</c:v>
                </c:pt>
                <c:pt idx="8">
                  <c:v>0.6441247002398082</c:v>
                </c:pt>
                <c:pt idx="9">
                  <c:v>0.6317532241199024</c:v>
                </c:pt>
                <c:pt idx="10">
                  <c:v>0.41944335554684437</c:v>
                </c:pt>
                <c:pt idx="11">
                  <c:v>0.7027699018538713</c:v>
                </c:pt>
                <c:pt idx="12">
                  <c:v>0.682627432203021</c:v>
                </c:pt>
                <c:pt idx="13">
                  <c:v>0.3269113416441461</c:v>
                </c:pt>
                <c:pt idx="14">
                  <c:v>0.4604981895912403</c:v>
                </c:pt>
                <c:pt idx="15">
                  <c:v>0.3147205914329202</c:v>
                </c:pt>
                <c:pt idx="16">
                  <c:v>0.3086274509803922</c:v>
                </c:pt>
                <c:pt idx="17">
                  <c:v>0.7626269229093127</c:v>
                </c:pt>
                <c:pt idx="18">
                  <c:v>0.6828611159395097</c:v>
                </c:pt>
                <c:pt idx="19">
                  <c:v>0.3800712362088437</c:v>
                </c:pt>
                <c:pt idx="20">
                  <c:v>0.8406049775530664</c:v>
                </c:pt>
                <c:pt idx="21">
                  <c:v>0.4358058049333217</c:v>
                </c:pt>
                <c:pt idx="22">
                  <c:v>0.616188560433794</c:v>
                </c:pt>
                <c:pt idx="23">
                  <c:v>0.8724861492823801</c:v>
                </c:pt>
                <c:pt idx="24">
                  <c:v>0.25462720447005416</c:v>
                </c:pt>
                <c:pt idx="25">
                  <c:v>0.7475494486259407</c:v>
                </c:pt>
                <c:pt idx="26">
                  <c:v>0.21896211955331726</c:v>
                </c:pt>
                <c:pt idx="27">
                  <c:v>0.6569151265656478</c:v>
                </c:pt>
                <c:pt idx="28">
                  <c:v>0.6342957130358705</c:v>
                </c:pt>
                <c:pt idx="29">
                  <c:v>0.7380921138958141</c:v>
                </c:pt>
                <c:pt idx="30">
                  <c:v>1.6401329601119665</c:v>
                </c:pt>
                <c:pt idx="31">
                  <c:v>0.5836032565875864</c:v>
                </c:pt>
                <c:pt idx="32">
                  <c:v>0.7669719945654556</c:v>
                </c:pt>
                <c:pt idx="33">
                  <c:v>0.4373305344179131</c:v>
                </c:pt>
                <c:pt idx="34">
                  <c:v>0.21858879076680948</c:v>
                </c:pt>
                <c:pt idx="35">
                  <c:v>0.5692516530192232</c:v>
                </c:pt>
                <c:pt idx="36">
                  <c:v>0.819994752033587</c:v>
                </c:pt>
                <c:pt idx="37">
                  <c:v>0.9121677831778974</c:v>
                </c:pt>
                <c:pt idx="38">
                  <c:v>1.6506734747777094</c:v>
                </c:pt>
                <c:pt idx="39">
                  <c:v>1.5490592579567435</c:v>
                </c:pt>
                <c:pt idx="40">
                  <c:v>1.614985261120155</c:v>
                </c:pt>
                <c:pt idx="41">
                  <c:v>1.636556478698957</c:v>
                </c:pt>
                <c:pt idx="42">
                  <c:v>1.6451726879250947</c:v>
                </c:pt>
                <c:pt idx="43">
                  <c:v>1.648684384503504</c:v>
                </c:pt>
                <c:pt idx="44">
                  <c:v>1.6496691662990737</c:v>
                </c:pt>
                <c:pt idx="45">
                  <c:v>1.6480313919139367</c:v>
                </c:pt>
                <c:pt idx="46">
                  <c:v>1.6509667166946234</c:v>
                </c:pt>
                <c:pt idx="47">
                  <c:v>1.6509325554671617</c:v>
                </c:pt>
                <c:pt idx="48">
                  <c:v>1.607771358002911</c:v>
                </c:pt>
                <c:pt idx="49">
                  <c:v>1.640751024725638</c:v>
                </c:pt>
                <c:pt idx="50">
                  <c:v>1.6483385552270422</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3.53656355279680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536563552796801</c:v>
                </c:pt>
                <c:pt idx="1">
                  <c:v>3.53656355279680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8186895716415712</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8186895716415712</c:v>
                </c:pt>
                <c:pt idx="1">
                  <c:v>1.8186895716415712</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8186895716415712</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8186895716415712</c:v>
                </c:pt>
                <c:pt idx="1">
                  <c:v>1.8186895716415712</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48159469018820145</c:v>
                </c:pt>
                <c:pt idx="1">
                  <c:v>0.4369101712687871</c:v>
                </c:pt>
                <c:pt idx="2">
                  <c:v>0.49083769633507857</c:v>
                </c:pt>
                <c:pt idx="3">
                  <c:v>0.4402233174859337</c:v>
                </c:pt>
                <c:pt idx="4">
                  <c:v>0.5227846998344515</c:v>
                </c:pt>
                <c:pt idx="5">
                  <c:v>0.41466608467917937</c:v>
                </c:pt>
                <c:pt idx="6">
                  <c:v>0.49481029219363276</c:v>
                </c:pt>
                <c:pt idx="7">
                  <c:v>0.3742264446962434</c:v>
                </c:pt>
                <c:pt idx="8">
                  <c:v>0.6441247002398082</c:v>
                </c:pt>
                <c:pt idx="9">
                  <c:v>0.6317532241199024</c:v>
                </c:pt>
                <c:pt idx="10">
                  <c:v>0.41944335554684437</c:v>
                </c:pt>
                <c:pt idx="11">
                  <c:v>0.7027699018538713</c:v>
                </c:pt>
                <c:pt idx="12">
                  <c:v>0.682627432203021</c:v>
                </c:pt>
                <c:pt idx="13">
                  <c:v>0.3269113416441461</c:v>
                </c:pt>
                <c:pt idx="14">
                  <c:v>0.4604981895912403</c:v>
                </c:pt>
                <c:pt idx="15">
                  <c:v>0.3147205914329202</c:v>
                </c:pt>
                <c:pt idx="16">
                  <c:v>0.3086274509803922</c:v>
                </c:pt>
                <c:pt idx="17">
                  <c:v>0.7626269229093127</c:v>
                </c:pt>
                <c:pt idx="18">
                  <c:v>0.6828611159395097</c:v>
                </c:pt>
                <c:pt idx="19">
                  <c:v>0.3800712362088437</c:v>
                </c:pt>
                <c:pt idx="20">
                  <c:v>0.8406049775530664</c:v>
                </c:pt>
                <c:pt idx="21">
                  <c:v>0.4358058049333217</c:v>
                </c:pt>
                <c:pt idx="22">
                  <c:v>0.616188560433794</c:v>
                </c:pt>
                <c:pt idx="23">
                  <c:v>0.8724861492823801</c:v>
                </c:pt>
                <c:pt idx="24">
                  <c:v>0.25462720447005416</c:v>
                </c:pt>
                <c:pt idx="25">
                  <c:v>0.7475494486259407</c:v>
                </c:pt>
                <c:pt idx="26">
                  <c:v>0.21896211955331726</c:v>
                </c:pt>
                <c:pt idx="27">
                  <c:v>0.6569151265656478</c:v>
                </c:pt>
                <c:pt idx="28">
                  <c:v>0.6342957130358705</c:v>
                </c:pt>
                <c:pt idx="29">
                  <c:v>0.7380921138958141</c:v>
                </c:pt>
                <c:pt idx="30">
                  <c:v>1.6401329601119665</c:v>
                </c:pt>
                <c:pt idx="31">
                  <c:v>0.5836032565875864</c:v>
                </c:pt>
                <c:pt idx="32">
                  <c:v>0.7669719945654556</c:v>
                </c:pt>
                <c:pt idx="33">
                  <c:v>0.4373305344179131</c:v>
                </c:pt>
                <c:pt idx="34">
                  <c:v>0.21858879076680948</c:v>
                </c:pt>
                <c:pt idx="35">
                  <c:v>0.5692516530192232</c:v>
                </c:pt>
                <c:pt idx="36">
                  <c:v>0.819994752033587</c:v>
                </c:pt>
                <c:pt idx="37">
                  <c:v>0.9121677831778974</c:v>
                </c:pt>
                <c:pt idx="38">
                  <c:v>1.6506734747777094</c:v>
                </c:pt>
                <c:pt idx="39">
                  <c:v>1.5490592579567435</c:v>
                </c:pt>
                <c:pt idx="40">
                  <c:v>1.614985261120155</c:v>
                </c:pt>
                <c:pt idx="41">
                  <c:v>1.636556478698957</c:v>
                </c:pt>
                <c:pt idx="42">
                  <c:v>1.6451726879250947</c:v>
                </c:pt>
                <c:pt idx="43">
                  <c:v>1.648684384503504</c:v>
                </c:pt>
                <c:pt idx="44">
                  <c:v>1.6496691662990737</c:v>
                </c:pt>
                <c:pt idx="45">
                  <c:v>1.6480313919139367</c:v>
                </c:pt>
                <c:pt idx="46">
                  <c:v>1.6509667166946234</c:v>
                </c:pt>
                <c:pt idx="47">
                  <c:v>1.6509325554671617</c:v>
                </c:pt>
                <c:pt idx="48">
                  <c:v>1.607771358002911</c:v>
                </c:pt>
                <c:pt idx="49">
                  <c:v>1.640751024725638</c:v>
                </c:pt>
                <c:pt idx="50">
                  <c:v>1.6483385552270422</c:v>
                </c:pt>
                <c:pt idx="51">
                  <c:v>1.8186895716415712</c:v>
                </c:pt>
                <c:pt idx="52">
                  <c:v>3.536563552796801</c:v>
                </c:pt>
                <c:pt idx="53">
                  <c:v>1.8186895716415712</c:v>
                </c:pt>
              </c:numCache>
            </c:numRef>
          </c:xVal>
          <c:yVal>
            <c:numRef>
              <c:f>Sheet1!$B$146:$B$199</c:f>
              <c:numCache>
                <c:formatCode>General</c:formatCode>
                <c:ptCount val="54"/>
                <c:pt idx="0">
                  <c:v>1.8002247749565093e-05</c:v>
                </c:pt>
                <c:pt idx="1">
                  <c:v>-1.7809494243444814e-06</c:v>
                </c:pt>
                <c:pt idx="2">
                  <c:v>2.20944080212936e-05</c:v>
                </c:pt>
                <c:pt idx="3">
                  <c:v>-3.14118708364113e-07</c:v>
                </c:pt>
                <c:pt idx="4">
                  <c:v>3.6238319260071194e-05</c:v>
                </c:pt>
                <c:pt idx="5">
                  <c:v>-1.162908389233208e-05</c:v>
                </c:pt>
                <c:pt idx="6">
                  <c:v>2.385319717383583e-05</c:v>
                </c:pt>
                <c:pt idx="7">
                  <c:v>-2.9532943904054122e-05</c:v>
                </c:pt>
                <c:pt idx="8">
                  <c:v>8.995923225525355e-05</c:v>
                </c:pt>
                <c:pt idx="9">
                  <c:v>8.448200306422667e-05</c:v>
                </c:pt>
                <c:pt idx="10">
                  <c:v>-9.514040610818111e-06</c:v>
                </c:pt>
                <c:pt idx="11">
                  <c:v>0.00011592324876233555</c:v>
                </c:pt>
                <c:pt idx="12">
                  <c:v>0.00010700556410759196</c:v>
                </c:pt>
                <c:pt idx="13">
                  <c:v>-5.0480780775065035e-05</c:v>
                </c:pt>
                <c:pt idx="14">
                  <c:v>8.662184544635913e-06</c:v>
                </c:pt>
                <c:pt idx="15">
                  <c:v>-5.587799710319647e-05</c:v>
                </c:pt>
                <c:pt idx="16">
                  <c:v>-5.8575615918296075e-05</c:v>
                </c:pt>
                <c:pt idx="17">
                  <c:v>0.00014242377463614467</c:v>
                </c:pt>
                <c:pt idx="18">
                  <c:v>0.00010710902301342977</c:v>
                </c:pt>
                <c:pt idx="19">
                  <c:v>-2.6945276726911765e-05</c:v>
                </c:pt>
                <c:pt idx="20">
                  <c:v>0.0001769470338668719</c:v>
                </c:pt>
                <c:pt idx="21">
                  <c:v>-2.269886029125694e-06</c:v>
                </c:pt>
                <c:pt idx="22">
                  <c:v>7.759105250474576e-05</c:v>
                </c:pt>
                <c:pt idx="23">
                  <c:v>0.00019106179937645998</c:v>
                </c:pt>
                <c:pt idx="24">
                  <c:v>-8.248316936158918e-05</c:v>
                </c:pt>
                <c:pt idx="25">
                  <c:v>0.00013574851766022362</c:v>
                </c:pt>
                <c:pt idx="26">
                  <c:v>-9.827318845980267e-05</c:v>
                </c:pt>
                <c:pt idx="27">
                  <c:v>9.562194345952505e-05</c:v>
                </c:pt>
                <c:pt idx="28">
                  <c:v>8.560764032637975e-05</c:v>
                </c:pt>
                <c:pt idx="29">
                  <c:v>0.0001315614675983627</c:v>
                </c:pt>
                <c:pt idx="30">
                  <c:v>0.000530922417456571</c:v>
                </c:pt>
                <c:pt idx="31">
                  <c:v>6.316454626611201e-05</c:v>
                </c:pt>
                <c:pt idx="32">
                  <c:v>0.00014434747016620658</c:v>
                </c:pt>
                <c:pt idx="33">
                  <c:v>-1.5948418581244702e-06</c:v>
                </c:pt>
                <c:pt idx="34">
                  <c:v>-9.843847248149034e-05</c:v>
                </c:pt>
                <c:pt idx="35">
                  <c:v>5.681065435856467e-05</c:v>
                </c:pt>
                <c:pt idx="36">
                  <c:v>0.00016782225944587094</c:v>
                </c:pt>
                <c:pt idx="37">
                  <c:v>0.00020863006701191694</c:v>
                </c:pt>
                <c:pt idx="38">
                  <c:v>0.0005355890242588719</c:v>
                </c:pt>
                <c:pt idx="39">
                  <c:v>0.000490601316308677</c:v>
                </c:pt>
                <c:pt idx="40">
                  <c:v>0.0005197887653628258</c:v>
                </c:pt>
                <c:pt idx="41">
                  <c:v>0.0005293390002307978</c:v>
                </c:pt>
                <c:pt idx="42">
                  <c:v>0.0005331536584196831</c:v>
                </c:pt>
                <c:pt idx="43">
                  <c:v>0.0005347083934264737</c:v>
                </c:pt>
                <c:pt idx="44">
                  <c:v>0.0005351443863140813</c:v>
                </c:pt>
                <c:pt idx="45">
                  <c:v>0.0005344192937233794</c:v>
                </c:pt>
                <c:pt idx="46">
                  <c:v>0.0005357188513847367</c:v>
                </c:pt>
                <c:pt idx="47">
                  <c:v>0.0005357037271691265</c:v>
                </c:pt>
                <c:pt idx="48">
                  <c:v>0.0005165949507887158</c:v>
                </c:pt>
                <c:pt idx="49">
                  <c:v>0.0005311960534811757</c:v>
                </c:pt>
                <c:pt idx="50">
                  <c:v>0.0005345552842752464</c:v>
                </c:pt>
                <c:pt idx="51">
                  <c:v>0.000609974866448264</c:v>
                </c:pt>
                <c:pt idx="52">
                  <c:v>0.0013705299873484752</c:v>
                </c:pt>
                <c:pt idx="53">
                  <c:v>0.00060997486644826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Harry's</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6413</c:v>
                </c:pt>
                <c:pt idx="1">
                  <c:v>3.3354</c:v>
                </c:pt>
                <c:pt idx="2">
                  <c:v>3.7432</c:v>
                </c:pt>
                <c:pt idx="3">
                  <c:v>3.7382</c:v>
                </c:pt>
                <c:pt idx="4">
                  <c:v>3.7433</c:v>
                </c:pt>
                <c:pt idx="5">
                  <c:v>3.7337</c:v>
                </c:pt>
                <c:pt idx="6">
                  <c:v>3.6105</c:v>
                </c:pt>
                <c:pt idx="7">
                  <c:v>3.2802</c:v>
                </c:pt>
                <c:pt idx="8">
                  <c:v>3.388</c:v>
                </c:pt>
                <c:pt idx="9">
                  <c:v>3.279</c:v>
                </c:pt>
                <c:pt idx="10">
                  <c:v>3.5411</c:v>
                </c:pt>
                <c:pt idx="11">
                  <c:v>3.4914</c:v>
                </c:pt>
                <c:pt idx="12">
                  <c:v>3.4988</c:v>
                </c:pt>
                <c:pt idx="13">
                  <c:v>3.5156</c:v>
                </c:pt>
                <c:pt idx="14">
                  <c:v>3.4401</c:v>
                </c:pt>
                <c:pt idx="15">
                  <c:v>3.5517</c:v>
                </c:pt>
                <c:pt idx="16">
                  <c:v>3.5044</c:v>
                </c:pt>
                <c:pt idx="17">
                  <c:v>3.6413</c:v>
                </c:pt>
                <c:pt idx="18">
                  <c:v>3.4857</c:v>
                </c:pt>
                <c:pt idx="19">
                  <c:v>3.5504</c:v>
                </c:pt>
                <c:pt idx="20">
                  <c:v>3.5797</c:v>
                </c:pt>
                <c:pt idx="21">
                  <c:v>3.6667</c:v>
                </c:pt>
                <c:pt idx="22">
                  <c:v>3.5838</c:v>
                </c:pt>
                <c:pt idx="23">
                  <c:v>3.6089</c:v>
                </c:pt>
                <c:pt idx="24">
                  <c:v>3.6579</c:v>
                </c:pt>
                <c:pt idx="25">
                  <c:v>3.5863</c:v>
                </c:pt>
                <c:pt idx="26">
                  <c:v>3.6873</c:v>
                </c:pt>
                <c:pt idx="27">
                  <c:v>3.717</c:v>
                </c:pt>
                <c:pt idx="28">
                  <c:v>3.6397</c:v>
                </c:pt>
                <c:pt idx="29">
                  <c:v>3.6747</c:v>
                </c:pt>
                <c:pt idx="30">
                  <c:v>3.5723</c:v>
                </c:pt>
                <c:pt idx="31">
                  <c:v>3.7212</c:v>
                </c:pt>
                <c:pt idx="32">
                  <c:v>3.6909</c:v>
                </c:pt>
                <c:pt idx="33">
                  <c:v>3.6977</c:v>
                </c:pt>
                <c:pt idx="34">
                  <c:v>3.7258</c:v>
                </c:pt>
                <c:pt idx="35">
                  <c:v>3.6453</c:v>
                </c:pt>
                <c:pt idx="36">
                  <c:v>3.6377</c:v>
                </c:pt>
                <c:pt idx="37">
                  <c:v>3.6455</c:v>
                </c:pt>
                <c:pt idx="38">
                  <c:v>3.7353</c:v>
                </c:pt>
                <c:pt idx="39">
                  <c:v>3.7017</c:v>
                </c:pt>
                <c:pt idx="40">
                  <c:v>3.7075</c:v>
                </c:pt>
                <c:pt idx="41">
                  <c:v>3.6669</c:v>
                </c:pt>
                <c:pt idx="42">
                  <c:v>3.6409</c:v>
                </c:pt>
                <c:pt idx="43">
                  <c:v>3.6665</c:v>
                </c:pt>
                <c:pt idx="44">
                  <c:v>3.7404</c:v>
                </c:pt>
                <c:pt idx="45">
                  <c:v>3.6443</c:v>
                </c:pt>
                <c:pt idx="46">
                  <c:v>3.6542</c:v>
                </c:pt>
                <c:pt idx="47">
                  <c:v>3.7142</c:v>
                </c:pt>
                <c:pt idx="48">
                  <c:v>3.75</c:v>
                </c:pt>
                <c:pt idx="49">
                  <c:v>3.3544</c:v>
                </c:pt>
                <c:pt idx="50">
                  <c:v>2.9935</c:v>
                </c:pt>
                <c:pt idx="51">
                  <c:v>2.8712</c:v>
                </c:pt>
                <c:pt idx="52">
                  <c:v>2.9604</c:v>
                </c:pt>
                <c:pt idx="53">
                  <c:v>1.1825</c:v>
                </c:pt>
                <c:pt idx="54">
                  <c:v>0.9136</c:v>
                </c:pt>
                <c:pt idx="55">
                  <c:v>0.8778</c:v>
                </c:pt>
                <c:pt idx="56">
                  <c:v>0.7979</c:v>
                </c:pt>
                <c:pt idx="57">
                  <c:v>0.8887</c:v>
                </c:pt>
                <c:pt idx="58">
                  <c:v>0.8619</c:v>
                </c:pt>
                <c:pt idx="59">
                  <c:v>0.901</c:v>
                </c:pt>
                <c:pt idx="60">
                  <c:v>1.0218</c:v>
                </c:pt>
                <c:pt idx="61">
                  <c:v>1.1842</c:v>
                </c:pt>
                <c:pt idx="62">
                  <c:v>0.9912</c:v>
                </c:pt>
                <c:pt idx="63">
                  <c:v>0.774</c:v>
                </c:pt>
                <c:pt idx="64">
                  <c:v>1.0441</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8.03341191276272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033411912762721</c:v>
                </c:pt>
                <c:pt idx="1">
                  <c:v>8.03341191276272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4.13536226541264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4.135362265412641</c:v>
                </c:pt>
                <c:pt idx="1">
                  <c:v>4.13536226541264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4.13536226541264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4.135362265412641</c:v>
                </c:pt>
                <c:pt idx="1">
                  <c:v>4.13536226541264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pt idx="51">
                  <c:v>4.135362265412641</c:v>
                </c:pt>
                <c:pt idx="52">
                  <c:v>8.033411912762721</c:v>
                </c:pt>
                <c:pt idx="53">
                  <c:v>4.135362265412641</c:v>
                </c:pt>
              </c:numCache>
            </c:numRef>
          </c:xVal>
          <c:yVal>
            <c:numRef>
              <c:f>Sheet1!$B$146:$B$199</c:f>
              <c:numCache>
                <c:formatCode>General</c:formatCode>
                <c:ptCount val="54"/>
                <c:pt idx="0">
                  <c:v>1.83059772477086e-05</c:v>
                </c:pt>
                <c:pt idx="1">
                  <c:v>-1.7710174087945873e-06</c:v>
                </c:pt>
                <c:pt idx="2">
                  <c:v>2.2617945973740886e-05</c:v>
                </c:pt>
                <c:pt idx="3">
                  <c:v>4.3521466866079574e-08</c:v>
                </c:pt>
                <c:pt idx="4">
                  <c:v>3.7251324003262154e-05</c:v>
                </c:pt>
                <c:pt idx="5">
                  <c:v>-1.1526602761808793e-05</c:v>
                </c:pt>
                <c:pt idx="6">
                  <c:v>2.44910183615196e-05</c:v>
                </c:pt>
                <c:pt idx="7">
                  <c:v>-2.934030161641266e-05</c:v>
                </c:pt>
                <c:pt idx="8">
                  <c:v>9.135580037107884e-05</c:v>
                </c:pt>
                <c:pt idx="9">
                  <c:v>8.602925076833305e-05</c:v>
                </c:pt>
                <c:pt idx="10">
                  <c:v>-8.990150570025097e-06</c:v>
                </c:pt>
                <c:pt idx="11">
                  <c:v>0.0001174617467757448</c:v>
                </c:pt>
                <c:pt idx="12">
                  <c:v>0.00010909145454285864</c:v>
                </c:pt>
                <c:pt idx="13">
                  <c:v>-5.0548944173865507e-05</c:v>
                </c:pt>
                <c:pt idx="14">
                  <c:v>9.077193503757202e-06</c:v>
                </c:pt>
                <c:pt idx="15">
                  <c:v>-5.5680382069550974e-05</c:v>
                </c:pt>
                <c:pt idx="16">
                  <c:v>-5.868510235827935e-05</c:v>
                </c:pt>
                <c:pt idx="17">
                  <c:v>0.00014456276288641817</c:v>
                </c:pt>
                <c:pt idx="18">
                  <c:v>0.00010971581200545149</c:v>
                </c:pt>
                <c:pt idx="19">
                  <c:v>-2.615998079133006e-05</c:v>
                </c:pt>
                <c:pt idx="20">
                  <c:v>0.00017940971376738485</c:v>
                </c:pt>
                <c:pt idx="21">
                  <c:v>-1.7710174087945873e-06</c:v>
                </c:pt>
                <c:pt idx="22">
                  <c:v>7.804918194956748e-05</c:v>
                </c:pt>
                <c:pt idx="23">
                  <c:v>0.00019334068965148912</c:v>
                </c:pt>
                <c:pt idx="24">
                  <c:v>-8.30740657408148e-05</c:v>
                </c:pt>
                <c:pt idx="25">
                  <c:v>0.00013642660470200436</c:v>
                </c:pt>
                <c:pt idx="26">
                  <c:v>-9.932687093893644e-05</c:v>
                </c:pt>
                <c:pt idx="27">
                  <c:v>9.578483612134728e-05</c:v>
                </c:pt>
                <c:pt idx="28">
                  <c:v>8.602925076833305e-05</c:v>
                </c:pt>
                <c:pt idx="29">
                  <c:v>0.00013236828119515047</c:v>
                </c:pt>
                <c:pt idx="30">
                  <c:v>0.0005347861770069857</c:v>
                </c:pt>
                <c:pt idx="31">
                  <c:v>6.325971455439796e-05</c:v>
                </c:pt>
                <c:pt idx="32">
                  <c:v>0.00014456276288641817</c:v>
                </c:pt>
                <c:pt idx="33">
                  <c:v>-1.7710174087945873e-06</c:v>
                </c:pt>
                <c:pt idx="34">
                  <c:v>-9.932687093893644e-05</c:v>
                </c:pt>
                <c:pt idx="35">
                  <c:v>5.676249470929051e-05</c:v>
                </c:pt>
                <c:pt idx="36">
                  <c:v>0.00016895172626895367</c:v>
                </c:pt>
                <c:pt idx="37">
                  <c:v>0.00020959349484961075</c:v>
                </c:pt>
                <c:pt idx="38">
                  <c:v>0.0005347861770069857</c:v>
                </c:pt>
                <c:pt idx="39">
                  <c:v>0.0004906519088699495</c:v>
                </c:pt>
                <c:pt idx="40">
                  <c:v>0.0005193138186371051</c:v>
                </c:pt>
                <c:pt idx="41">
                  <c:v>0.0005256549491165643</c:v>
                </c:pt>
                <c:pt idx="42">
                  <c:v>0.0005299083843304785</c:v>
                </c:pt>
                <c:pt idx="43">
                  <c:v>0.0005329716381313249</c:v>
                </c:pt>
                <c:pt idx="44">
                  <c:v>0.0005327960375949707</c:v>
                </c:pt>
                <c:pt idx="45">
                  <c:v>0.0005324253253515561</c:v>
                </c:pt>
                <c:pt idx="46">
                  <c:v>0.0005328545711070888</c:v>
                </c:pt>
                <c:pt idx="47">
                  <c:v>0.0005319375460839054</c:v>
                </c:pt>
                <c:pt idx="48">
                  <c:v>0.000514357981277774</c:v>
                </c:pt>
                <c:pt idx="49">
                  <c:v>0.0005294596274042399</c:v>
                </c:pt>
                <c:pt idx="50">
                  <c:v>0.0005319180349131994</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5960813535548348</c:v>
                </c:pt>
                <c:pt idx="1">
                  <c:v>1.4598853241125749</c:v>
                </c:pt>
                <c:pt idx="2">
                  <c:v>1.6385921905095429</c:v>
                </c:pt>
                <c:pt idx="3">
                  <c:v>1.6371917838216616</c:v>
                </c:pt>
                <c:pt idx="4">
                  <c:v>1.638994702044748</c:v>
                </c:pt>
                <c:pt idx="5">
                  <c:v>1.63809064186373</c:v>
                </c:pt>
                <c:pt idx="6">
                  <c:v>1.5891285211267607</c:v>
                </c:pt>
                <c:pt idx="7">
                  <c:v>1.447508936057544</c:v>
                </c:pt>
                <c:pt idx="8">
                  <c:v>1.498385741453275</c:v>
                </c:pt>
                <c:pt idx="9">
                  <c:v>1.4448752974354453</c:v>
                </c:pt>
                <c:pt idx="10">
                  <c:v>1.5665811360821094</c:v>
                </c:pt>
                <c:pt idx="11">
                  <c:v>1.5480867290382654</c:v>
                </c:pt>
                <c:pt idx="12">
                  <c:v>1.5486898016997168</c:v>
                </c:pt>
                <c:pt idx="13">
                  <c:v>1.5557128949464556</c:v>
                </c:pt>
                <c:pt idx="14">
                  <c:v>1.52250497897765</c:v>
                </c:pt>
                <c:pt idx="15">
                  <c:v>1.5714791380912347</c:v>
                </c:pt>
                <c:pt idx="16">
                  <c:v>1.5535753867978896</c:v>
                </c:pt>
                <c:pt idx="17">
                  <c:v>1.5592429238213505</c:v>
                </c:pt>
                <c:pt idx="18">
                  <c:v>1.5210106034821311</c:v>
                </c:pt>
                <c:pt idx="19">
                  <c:v>1.5818927107467473</c:v>
                </c:pt>
                <c:pt idx="20">
                  <c:v>1.57675197110514</c:v>
                </c:pt>
                <c:pt idx="21">
                  <c:v>1.605666491504642</c:v>
                </c:pt>
                <c:pt idx="22">
                  <c:v>1.563407930899097</c:v>
                </c:pt>
                <c:pt idx="23">
                  <c:v>1.577040727145604</c:v>
                </c:pt>
                <c:pt idx="24">
                  <c:v>1.602023387202733</c:v>
                </c:pt>
                <c:pt idx="25">
                  <c:v>1.5738359590994864</c:v>
                </c:pt>
                <c:pt idx="26">
                  <c:v>1.621147504946142</c:v>
                </c:pt>
                <c:pt idx="27">
                  <c:v>1.638599894198554</c:v>
                </c:pt>
                <c:pt idx="28">
                  <c:v>1.5990246902732626</c:v>
                </c:pt>
                <c:pt idx="29">
                  <c:v>1.6200952296975575</c:v>
                </c:pt>
                <c:pt idx="30">
                  <c:v>1.5803840028313572</c:v>
                </c:pt>
                <c:pt idx="31">
                  <c:v>1.6368434943256795</c:v>
                </c:pt>
                <c:pt idx="32">
                  <c:v>1.6215183200070296</c:v>
                </c:pt>
                <c:pt idx="33">
                  <c:v>1.6238636862676212</c:v>
                </c:pt>
                <c:pt idx="34">
                  <c:v>1.6336212566317359</c:v>
                </c:pt>
                <c:pt idx="35">
                  <c:v>1.5962254236545956</c:v>
                </c:pt>
                <c:pt idx="36">
                  <c:v>1.5935254950061328</c:v>
                </c:pt>
                <c:pt idx="37">
                  <c:v>1.5903241286044585</c:v>
                </c:pt>
                <c:pt idx="38">
                  <c:v>1.6292855273488613</c:v>
                </c:pt>
                <c:pt idx="39">
                  <c:v>1.6209931686810302</c:v>
                </c:pt>
                <c:pt idx="40">
                  <c:v>1.6239597021462988</c:v>
                </c:pt>
                <c:pt idx="41">
                  <c:v>1.6039279153179948</c:v>
                </c:pt>
                <c:pt idx="42">
                  <c:v>1.5882481242366078</c:v>
                </c:pt>
                <c:pt idx="43">
                  <c:v>1.6026313488941342</c:v>
                </c:pt>
                <c:pt idx="44">
                  <c:v>1.6357195959242576</c:v>
                </c:pt>
                <c:pt idx="45">
                  <c:v>1.5888302742294111</c:v>
                </c:pt>
                <c:pt idx="46">
                  <c:v>1.5888516892038784</c:v>
                </c:pt>
                <c:pt idx="47">
                  <c:v>1.621213443910956</c:v>
                </c:pt>
                <c:pt idx="48">
                  <c:v>1.6274628938460205</c:v>
                </c:pt>
                <c:pt idx="49">
                  <c:v>1.6310415248468346</c:v>
                </c:pt>
                <c:pt idx="50">
                  <c:v>1.4553454227235159</c:v>
                </c:pt>
                <c:pt idx="51">
                  <c:v>1.324904249919247</c:v>
                </c:pt>
                <c:pt idx="52">
                  <c:v>1.334415145368492</c:v>
                </c:pt>
                <c:pt idx="53">
                  <c:v>0.6534232193181191</c:v>
                </c:pt>
                <c:pt idx="54">
                  <c:v>0.4827476882430647</c:v>
                </c:pt>
                <c:pt idx="55">
                  <c:v>0.4113016587011527</c:v>
                </c:pt>
                <c:pt idx="56">
                  <c:v>0.3501096972356297</c:v>
                </c:pt>
                <c:pt idx="57">
                  <c:v>0.383010817566694</c:v>
                </c:pt>
                <c:pt idx="58">
                  <c:v>0.36817599316531396</c:v>
                </c:pt>
                <c:pt idx="59">
                  <c:v>0.3802008608321377</c:v>
                </c:pt>
                <c:pt idx="60">
                  <c:v>0.42866132483114483</c:v>
                </c:pt>
                <c:pt idx="61">
                  <c:v>0.515183154963891</c:v>
                </c:pt>
                <c:pt idx="62">
                  <c:v>0.45541006202618883</c:v>
                </c:pt>
                <c:pt idx="63">
                  <c:v>0.35493190260008256</c:v>
                </c:pt>
                <c:pt idx="64">
                  <c:v>0.4781553398058252</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0.5046904315196998</c:v>
                </c:pt>
                <c:pt idx="1">
                  <c:v>0.45806422060372864</c:v>
                </c:pt>
                <c:pt idx="2">
                  <c:v>0.5150627231938467</c:v>
                </c:pt>
                <c:pt idx="3">
                  <c:v>0.46051010631017025</c:v>
                </c:pt>
                <c:pt idx="4">
                  <c:v>0.5484962062345735</c:v>
                </c:pt>
                <c:pt idx="5">
                  <c:v>0.43406744037284106</c:v>
                </c:pt>
                <c:pt idx="6">
                  <c:v>0.5181058495821727</c:v>
                </c:pt>
                <c:pt idx="7">
                  <c:v>0.39258446486535914</c:v>
                </c:pt>
                <c:pt idx="8">
                  <c:v>0.6770394133822182</c:v>
                </c:pt>
                <c:pt idx="9">
                  <c:v>0.6634333821376281</c:v>
                </c:pt>
                <c:pt idx="10">
                  <c:v>0.44109563942836205</c:v>
                </c:pt>
                <c:pt idx="11">
                  <c:v>0.7378858660804251</c:v>
                </c:pt>
                <c:pt idx="12">
                  <c:v>0.7175474719743765</c:v>
                </c:pt>
                <c:pt idx="13">
                  <c:v>0.3429982621421385</c:v>
                </c:pt>
                <c:pt idx="14">
                  <c:v>0.48286903618315724</c:v>
                </c:pt>
                <c:pt idx="15">
                  <c:v>0.33077380136203666</c:v>
                </c:pt>
                <c:pt idx="16">
                  <c:v>0.32376468437171463</c:v>
                </c:pt>
                <c:pt idx="17">
                  <c:v>0.8004757112798463</c:v>
                </c:pt>
                <c:pt idx="18">
                  <c:v>0.7185842326687397</c:v>
                </c:pt>
                <c:pt idx="19">
                  <c:v>0.399872040946897</c:v>
                </c:pt>
                <c:pt idx="20">
                  <c:v>0.8811220760233919</c:v>
                </c:pt>
                <c:pt idx="21">
                  <c:v>0.4568922191255083</c:v>
                </c:pt>
                <c:pt idx="22">
                  <c:v>0.6439245076086461</c:v>
                </c:pt>
                <c:pt idx="23">
                  <c:v>0.9157509157509157</c:v>
                </c:pt>
                <c:pt idx="24">
                  <c:v>0.26706652625795524</c:v>
                </c:pt>
                <c:pt idx="25">
                  <c:v>0.7817591067179205</c:v>
                </c:pt>
                <c:pt idx="26">
                  <c:v>0.22857142857142856</c:v>
                </c:pt>
                <c:pt idx="27">
                  <c:v>0.6853070175438596</c:v>
                </c:pt>
                <c:pt idx="28">
                  <c:v>0.6627056672760511</c:v>
                </c:pt>
                <c:pt idx="29">
                  <c:v>0.7706535141800246</c:v>
                </c:pt>
                <c:pt idx="30">
                  <c:v>1.712172404346635</c:v>
                </c:pt>
                <c:pt idx="31">
                  <c:v>0.6092300662554261</c:v>
                </c:pt>
                <c:pt idx="32">
                  <c:v>0.7994152848202458</c:v>
                </c:pt>
                <c:pt idx="33">
                  <c:v>0.4567878677142335</c:v>
                </c:pt>
                <c:pt idx="34">
                  <c:v>0.2284565475646532</c:v>
                </c:pt>
                <c:pt idx="35">
                  <c:v>0.5939327485380117</c:v>
                </c:pt>
                <c:pt idx="36">
                  <c:v>0.8565555047967108</c:v>
                </c:pt>
                <c:pt idx="37">
                  <c:v>0.9537609302751454</c:v>
                </c:pt>
                <c:pt idx="38">
                  <c:v>1.714128993920556</c:v>
                </c:pt>
                <c:pt idx="39">
                  <c:v>1.6114693373576623</c:v>
                </c:pt>
                <c:pt idx="40">
                  <c:v>1.6794162053346753</c:v>
                </c:pt>
                <c:pt idx="41">
                  <c:v>1.6957596849528342</c:v>
                </c:pt>
                <c:pt idx="42">
                  <c:v>1.7041815353646264</c:v>
                </c:pt>
                <c:pt idx="43">
                  <c:v>1.7101124622839903</c:v>
                </c:pt>
                <c:pt idx="44">
                  <c:v>1.710482985729967</c:v>
                </c:pt>
                <c:pt idx="45">
                  <c:v>1.7121198241113962</c:v>
                </c:pt>
                <c:pt idx="46">
                  <c:v>1.7125784147625807</c:v>
                </c:pt>
                <c:pt idx="47">
                  <c:v>1.7107396381955575</c:v>
                </c:pt>
                <c:pt idx="48">
                  <c:v>1.6693227091633467</c:v>
                </c:pt>
                <c:pt idx="49">
                  <c:v>1.7039088246063714</c:v>
                </c:pt>
                <c:pt idx="50">
                  <c:v>1.713440366972477</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3.673887219903412</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3.673887219903412</c:v>
                </c:pt>
                <c:pt idx="1">
                  <c:v>3.673887219903412</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89137235591971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891372355919711</c:v>
                </c:pt>
                <c:pt idx="1">
                  <c:v>1.89137235591971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89137235591971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891372355919711</c:v>
                </c:pt>
                <c:pt idx="1">
                  <c:v>1.89137235591971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0.5046904315196998</c:v>
                </c:pt>
                <c:pt idx="1">
                  <c:v>0.45806422060372864</c:v>
                </c:pt>
                <c:pt idx="2">
                  <c:v>0.5150627231938467</c:v>
                </c:pt>
                <c:pt idx="3">
                  <c:v>0.46051010631017025</c:v>
                </c:pt>
                <c:pt idx="4">
                  <c:v>0.5484962062345735</c:v>
                </c:pt>
                <c:pt idx="5">
                  <c:v>0.43406744037284106</c:v>
                </c:pt>
                <c:pt idx="6">
                  <c:v>0.5181058495821727</c:v>
                </c:pt>
                <c:pt idx="7">
                  <c:v>0.39258446486535914</c:v>
                </c:pt>
                <c:pt idx="8">
                  <c:v>0.6770394133822182</c:v>
                </c:pt>
                <c:pt idx="9">
                  <c:v>0.6634333821376281</c:v>
                </c:pt>
                <c:pt idx="10">
                  <c:v>0.44109563942836205</c:v>
                </c:pt>
                <c:pt idx="11">
                  <c:v>0.7378858660804251</c:v>
                </c:pt>
                <c:pt idx="12">
                  <c:v>0.7175474719743765</c:v>
                </c:pt>
                <c:pt idx="13">
                  <c:v>0.3429982621421385</c:v>
                </c:pt>
                <c:pt idx="14">
                  <c:v>0.48286903618315724</c:v>
                </c:pt>
                <c:pt idx="15">
                  <c:v>0.33077380136203666</c:v>
                </c:pt>
                <c:pt idx="16">
                  <c:v>0.32376468437171463</c:v>
                </c:pt>
                <c:pt idx="17">
                  <c:v>0.8004757112798463</c:v>
                </c:pt>
                <c:pt idx="18">
                  <c:v>0.7185842326687397</c:v>
                </c:pt>
                <c:pt idx="19">
                  <c:v>0.399872040946897</c:v>
                </c:pt>
                <c:pt idx="20">
                  <c:v>0.8811220760233919</c:v>
                </c:pt>
                <c:pt idx="21">
                  <c:v>0.4568922191255083</c:v>
                </c:pt>
                <c:pt idx="22">
                  <c:v>0.6439245076086461</c:v>
                </c:pt>
                <c:pt idx="23">
                  <c:v>0.9157509157509157</c:v>
                </c:pt>
                <c:pt idx="24">
                  <c:v>0.26706652625795524</c:v>
                </c:pt>
                <c:pt idx="25">
                  <c:v>0.7817591067179205</c:v>
                </c:pt>
                <c:pt idx="26">
                  <c:v>0.22857142857142856</c:v>
                </c:pt>
                <c:pt idx="27">
                  <c:v>0.6853070175438596</c:v>
                </c:pt>
                <c:pt idx="28">
                  <c:v>0.6627056672760511</c:v>
                </c:pt>
                <c:pt idx="29">
                  <c:v>0.7706535141800246</c:v>
                </c:pt>
                <c:pt idx="30">
                  <c:v>1.712172404346635</c:v>
                </c:pt>
                <c:pt idx="31">
                  <c:v>0.6092300662554261</c:v>
                </c:pt>
                <c:pt idx="32">
                  <c:v>0.7994152848202458</c:v>
                </c:pt>
                <c:pt idx="33">
                  <c:v>0.4567878677142335</c:v>
                </c:pt>
                <c:pt idx="34">
                  <c:v>0.2284565475646532</c:v>
                </c:pt>
                <c:pt idx="35">
                  <c:v>0.5939327485380117</c:v>
                </c:pt>
                <c:pt idx="36">
                  <c:v>0.8565555047967108</c:v>
                </c:pt>
                <c:pt idx="37">
                  <c:v>0.9537609302751454</c:v>
                </c:pt>
                <c:pt idx="38">
                  <c:v>1.714128993920556</c:v>
                </c:pt>
                <c:pt idx="39">
                  <c:v>1.6114693373576623</c:v>
                </c:pt>
                <c:pt idx="40">
                  <c:v>1.6794162053346753</c:v>
                </c:pt>
                <c:pt idx="41">
                  <c:v>1.6957596849528342</c:v>
                </c:pt>
                <c:pt idx="42">
                  <c:v>1.7041815353646264</c:v>
                </c:pt>
                <c:pt idx="43">
                  <c:v>1.7101124622839903</c:v>
                </c:pt>
                <c:pt idx="44">
                  <c:v>1.710482985729967</c:v>
                </c:pt>
                <c:pt idx="45">
                  <c:v>1.7121198241113962</c:v>
                </c:pt>
                <c:pt idx="46">
                  <c:v>1.7125784147625807</c:v>
                </c:pt>
                <c:pt idx="47">
                  <c:v>1.7107396381955575</c:v>
                </c:pt>
                <c:pt idx="48">
                  <c:v>1.6693227091633467</c:v>
                </c:pt>
                <c:pt idx="49">
                  <c:v>1.7039088246063714</c:v>
                </c:pt>
                <c:pt idx="50">
                  <c:v>1.713440366972477</c:v>
                </c:pt>
                <c:pt idx="51">
                  <c:v>1.891372355919711</c:v>
                </c:pt>
                <c:pt idx="52">
                  <c:v>3.673887219903412</c:v>
                </c:pt>
                <c:pt idx="53">
                  <c:v>1.891372355919711</c:v>
                </c:pt>
              </c:numCache>
            </c:numRef>
          </c:xVal>
          <c:yVal>
            <c:numRef>
              <c:f>Sheet1!$B$146:$B$199</c:f>
              <c:numCache>
                <c:formatCode>General</c:formatCode>
                <c:ptCount val="54"/>
                <c:pt idx="0">
                  <c:v>1.831189635376535e-05</c:v>
                </c:pt>
                <c:pt idx="1">
                  <c:v>-1.5823576560230698e-06</c:v>
                </c:pt>
                <c:pt idx="2">
                  <c:v>2.273749734461083e-05</c:v>
                </c:pt>
                <c:pt idx="3">
                  <c:v>-5.387585608584826e-07</c:v>
                </c:pt>
                <c:pt idx="4">
                  <c:v>3.7002739811833034e-05</c:v>
                </c:pt>
                <c:pt idx="5">
                  <c:v>-1.182119182143926e-05</c:v>
                </c:pt>
                <c:pt idx="6">
                  <c:v>2.4035924305839816e-05</c:v>
                </c:pt>
                <c:pt idx="7">
                  <c:v>-2.9520954157155686e-05</c:v>
                </c:pt>
                <c:pt idx="8">
                  <c:v>9.184895536292631e-05</c:v>
                </c:pt>
                <c:pt idx="9">
                  <c:v>8.604359746814029e-05</c:v>
                </c:pt>
                <c:pt idx="10">
                  <c:v>-8.822432657974922e-06</c:v>
                </c:pt>
                <c:pt idx="11">
                  <c:v>0.0001178106357524015</c:v>
                </c:pt>
                <c:pt idx="12">
                  <c:v>0.00010913274470038991</c:v>
                </c:pt>
                <c:pt idx="13">
                  <c:v>-5.067816365321421e-05</c:v>
                </c:pt>
                <c:pt idx="14">
                  <c:v>9.001245259779761e-06</c:v>
                </c:pt>
                <c:pt idx="15">
                  <c:v>-5.5894039511759225e-05</c:v>
                </c:pt>
                <c:pt idx="16">
                  <c:v>-5.888465682872475e-05</c:v>
                </c:pt>
                <c:pt idx="17">
                  <c:v>0.00014451617871566436</c:v>
                </c:pt>
                <c:pt idx="18">
                  <c:v>0.00010957510491357977</c:v>
                </c:pt>
                <c:pt idx="19">
                  <c:v>-2.6411525215072986e-05</c:v>
                </c:pt>
                <c:pt idx="20">
                  <c:v>0.00017892599314526825</c:v>
                </c:pt>
                <c:pt idx="21">
                  <c:v>-2.08242177552836e-06</c:v>
                </c:pt>
                <c:pt idx="22">
                  <c:v>7.771964195684827e-05</c:v>
                </c:pt>
                <c:pt idx="23">
                  <c:v>0.0001937012648233628</c:v>
                </c:pt>
                <c:pt idx="24">
                  <c:v>-8.307636225027565e-05</c:v>
                </c:pt>
                <c:pt idx="25">
                  <c:v>0.00013653026525538417</c:v>
                </c:pt>
                <c:pt idx="26">
                  <c:v>-9.950127082557348e-05</c:v>
                </c:pt>
                <c:pt idx="27">
                  <c:v>9.537653811118987e-05</c:v>
                </c:pt>
                <c:pt idx="28">
                  <c:v>8.573309948817356e-05</c:v>
                </c:pt>
                <c:pt idx="29">
                  <c:v>0.0001317917828752422</c:v>
                </c:pt>
                <c:pt idx="30">
                  <c:v>0.000533514667665193</c:v>
                </c:pt>
                <c:pt idx="31">
                  <c:v>6.291637968334796e-05</c:v>
                </c:pt>
                <c:pt idx="32">
                  <c:v>0.00014406372090424124</c:v>
                </c:pt>
                <c:pt idx="33">
                  <c:v>-2.1269459485503115e-06</c:v>
                </c:pt>
                <c:pt idx="34">
                  <c:v>-9.95502877172486e-05</c:v>
                </c:pt>
                <c:pt idx="35">
                  <c:v>5.638939157172264e-05</c:v>
                </c:pt>
                <c:pt idx="36">
                  <c:v>0.00016844404321770634</c:v>
                </c:pt>
                <c:pt idx="37">
                  <c:v>0.00020991920037947195</c:v>
                </c:pt>
                <c:pt idx="38">
                  <c:v>0.000534349496170701</c:v>
                </c:pt>
                <c:pt idx="39">
                  <c:v>0.0004905471531516531</c:v>
                </c:pt>
                <c:pt idx="40">
                  <c:v>0.0005195384055856189</c:v>
                </c:pt>
                <c:pt idx="41">
                  <c:v>0.0005265117651732855</c:v>
                </c:pt>
                <c:pt idx="42">
                  <c:v>0.0005301051609915</c:v>
                </c:pt>
                <c:pt idx="43">
                  <c:v>0.0005326357412022737</c:v>
                </c:pt>
                <c:pt idx="44">
                  <c:v>0.0005327938344164987</c:v>
                </c:pt>
                <c:pt idx="45">
                  <c:v>0.0005334922329758801</c:v>
                </c:pt>
                <c:pt idx="46">
                  <c:v>0.0005336879022941016</c:v>
                </c:pt>
                <c:pt idx="47">
                  <c:v>0.0005329033416923933</c:v>
                </c:pt>
                <c:pt idx="48">
                  <c:v>0.0005152317597584227</c:v>
                </c:pt>
                <c:pt idx="49">
                  <c:v>0.0005299888020382558</c:v>
                </c:pt>
                <c:pt idx="50">
                  <c:v>0.0005340556760391926</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Dollar Shave Club</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0.6864616000533796</c:v>
                </c:pt>
                <c:pt idx="1">
                  <c:v>0.6865652230459097</c:v>
                </c:pt>
                <c:pt idx="2">
                  <c:v>0.6705063291139239</c:v>
                </c:pt>
                <c:pt idx="3">
                  <c:v>0.6155270229919378</c:v>
                </c:pt>
                <c:pt idx="4">
                  <c:v>0.6176113008741967</c:v>
                </c:pt>
                <c:pt idx="5">
                  <c:v>0.6508858209397405</c:v>
                </c:pt>
                <c:pt idx="6">
                  <c:v>0.6353997682502897</c:v>
                </c:pt>
                <c:pt idx="7">
                  <c:v>0.6230843730416452</c:v>
                </c:pt>
                <c:pt idx="8">
                  <c:v>0.60522962716747</c:v>
                </c:pt>
                <c:pt idx="9">
                  <c:v>0.5896080526345386</c:v>
                </c:pt>
                <c:pt idx="10">
                  <c:v>0.573874336586201</c:v>
                </c:pt>
                <c:pt idx="11">
                  <c:v>0.5794092342988242</c:v>
                </c:pt>
                <c:pt idx="12">
                  <c:v>0.5965677552660278</c:v>
                </c:pt>
                <c:pt idx="13">
                  <c:v>0.5987581145921536</c:v>
                </c:pt>
                <c:pt idx="14">
                  <c:v>0.5869187187973299</c:v>
                </c:pt>
                <c:pt idx="15">
                  <c:v>0.5809221162959246</c:v>
                </c:pt>
                <c:pt idx="16">
                  <c:v>0.6075005690871841</c:v>
                </c:pt>
                <c:pt idx="17">
                  <c:v>0.6262737378415933</c:v>
                </c:pt>
                <c:pt idx="18">
                  <c:v>0.644903318214371</c:v>
                </c:pt>
                <c:pt idx="19">
                  <c:v>0.6097804978520567</c:v>
                </c:pt>
                <c:pt idx="20">
                  <c:v>0.596415182755389</c:v>
                </c:pt>
                <c:pt idx="21">
                  <c:v>0.5682871049082272</c:v>
                </c:pt>
                <c:pt idx="22">
                  <c:v>0.5198605475224324</c:v>
                </c:pt>
                <c:pt idx="23">
                  <c:v>0.5109464653779734</c:v>
                </c:pt>
                <c:pt idx="24">
                  <c:v>0.5122235157159488</c:v>
                </c:pt>
                <c:pt idx="25">
                  <c:v>0.557246856386499</c:v>
                </c:pt>
                <c:pt idx="26">
                  <c:v>0.597125483692648</c:v>
                </c:pt>
                <c:pt idx="27">
                  <c:v>0.6137655467387023</c:v>
                </c:pt>
                <c:pt idx="28">
                  <c:v>0.6204924008748809</c:v>
                </c:pt>
                <c:pt idx="29">
                  <c:v>0.6489692840782286</c:v>
                </c:pt>
                <c:pt idx="30">
                  <c:v>0.6901153726223885</c:v>
                </c:pt>
                <c:pt idx="31">
                  <c:v>0.6885133875877494</c:v>
                </c:pt>
                <c:pt idx="32">
                  <c:v>0.695275194772556</c:v>
                </c:pt>
                <c:pt idx="33">
                  <c:v>0.6418807447560687</c:v>
                </c:pt>
                <c:pt idx="34">
                  <c:v>0.6374030216414863</c:v>
                </c:pt>
                <c:pt idx="35">
                  <c:v>0.6681715575620767</c:v>
                </c:pt>
                <c:pt idx="36">
                  <c:v>0.6772431569903031</c:v>
                </c:pt>
                <c:pt idx="37">
                  <c:v>0.6806250763032596</c:v>
                </c:pt>
                <c:pt idx="38">
                  <c:v>0.6472778036295952</c:v>
                </c:pt>
                <c:pt idx="39">
                  <c:v>0.6427378964941569</c:v>
                </c:pt>
                <c:pt idx="40">
                  <c:v>0.6423063643687421</c:v>
                </c:pt>
                <c:pt idx="41">
                  <c:v>0.6248425151758104</c:v>
                </c:pt>
                <c:pt idx="42">
                  <c:v>0.6019434124035438</c:v>
                </c:pt>
                <c:pt idx="43">
                  <c:v>0.5974033535165347</c:v>
                </c:pt>
                <c:pt idx="44">
                  <c:v>0.6027652733118971</c:v>
                </c:pt>
                <c:pt idx="45">
                  <c:v>0.5967628430682618</c:v>
                </c:pt>
                <c:pt idx="46">
                  <c:v>0.5653950135175728</c:v>
                </c:pt>
                <c:pt idx="47">
                  <c:v>0.5983367048775006</c:v>
                </c:pt>
                <c:pt idx="48">
                  <c:v>0.604170207943793</c:v>
                </c:pt>
                <c:pt idx="49">
                  <c:v>0.6122877746862756</c:v>
                </c:pt>
                <c:pt idx="50">
                  <c:v>0.5972720746590093</c:v>
                </c:pt>
                <c:pt idx="51">
                  <c:v>0.5682160658398053</c:v>
                </c:pt>
                <c:pt idx="52">
                  <c:v>0.5615875624091512</c:v>
                </c:pt>
                <c:pt idx="53">
                  <c:v>0.5613524123084717</c:v>
                </c:pt>
                <c:pt idx="54">
                  <c:v>0.5656238077069821</c:v>
                </c:pt>
                <c:pt idx="55">
                  <c:v>0.5809202344999111</c:v>
                </c:pt>
                <c:pt idx="56">
                  <c:v>0.6302652106084243</c:v>
                </c:pt>
                <c:pt idx="57">
                  <c:v>0.6966194382301765</c:v>
                </c:pt>
                <c:pt idx="58">
                  <c:v>0.6993635342568326</c:v>
                </c:pt>
                <c:pt idx="59">
                  <c:v>0.6980683878227169</c:v>
                </c:pt>
                <c:pt idx="60">
                  <c:v>0.6497084374628109</c:v>
                </c:pt>
                <c:pt idx="61">
                  <c:v>0.6063925401640264</c:v>
                </c:pt>
                <c:pt idx="62">
                  <c:v>0.6061566319601629</c:v>
                </c:pt>
                <c:pt idx="63">
                  <c:v>0.6284742582385364</c:v>
                </c:pt>
                <c:pt idx="64">
                  <c:v>0.627460168697282</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0.6066546762589928</c:v>
                </c:pt>
                <c:pt idx="1">
                  <c:v>0.552454508220701</c:v>
                </c:pt>
                <c:pt idx="2">
                  <c:v>0.5561814234583113</c:v>
                </c:pt>
                <c:pt idx="3">
                  <c:v>0.57032634165857</c:v>
                </c:pt>
                <c:pt idx="4">
                  <c:v>0.6000471364600518</c:v>
                </c:pt>
                <c:pt idx="5">
                  <c:v>0.6374081747975138</c:v>
                </c:pt>
                <c:pt idx="6">
                  <c:v>0.6255437180861123</c:v>
                </c:pt>
                <c:pt idx="7">
                  <c:v>0.6220110948160429</c:v>
                </c:pt>
                <c:pt idx="8">
                  <c:v>0.5656145147259849</c:v>
                </c:pt>
                <c:pt idx="9">
                  <c:v>0.4966096609660966</c:v>
                </c:pt>
                <c:pt idx="10">
                  <c:v>0.4858956276445698</c:v>
                </c:pt>
                <c:pt idx="11">
                  <c:v>0.48150312664367945</c:v>
                </c:pt>
                <c:pt idx="12">
                  <c:v>0.48420434527304757</c:v>
                </c:pt>
                <c:pt idx="13">
                  <c:v>0.5226103919134598</c:v>
                </c:pt>
                <c:pt idx="14">
                  <c:v>0.6022610483042138</c:v>
                </c:pt>
                <c:pt idx="15">
                  <c:v>0.6087452015355086</c:v>
                </c:pt>
                <c:pt idx="16">
                  <c:v>0.6541629133959593</c:v>
                </c:pt>
                <c:pt idx="17">
                  <c:v>0.6658957964902734</c:v>
                </c:pt>
                <c:pt idx="18">
                  <c:v>0.6022644022644023</c:v>
                </c:pt>
                <c:pt idx="19">
                  <c:v>0.6168865787018526</c:v>
                </c:pt>
                <c:pt idx="20">
                  <c:v>0.5919310132429936</c:v>
                </c:pt>
                <c:pt idx="21">
                  <c:v>0.6077228437387224</c:v>
                </c:pt>
                <c:pt idx="22">
                  <c:v>0.6370906801007556</c:v>
                </c:pt>
                <c:pt idx="23">
                  <c:v>0.6440279542566709</c:v>
                </c:pt>
                <c:pt idx="24">
                  <c:v>0.6382536382536382</c:v>
                </c:pt>
                <c:pt idx="25">
                  <c:v>0.6161425704032601</c:v>
                </c:pt>
                <c:pt idx="26">
                  <c:v>0.6440257177414221</c:v>
                </c:pt>
                <c:pt idx="27">
                  <c:v>0.6319939917386406</c:v>
                </c:pt>
                <c:pt idx="28">
                  <c:v>0.5929854681464222</c:v>
                </c:pt>
                <c:pt idx="29">
                  <c:v>0.5588444655356508</c:v>
                </c:pt>
                <c:pt idx="30">
                  <c:v>0.5355664050429516</c:v>
                </c:pt>
                <c:pt idx="31">
                  <c:v>0.5366534640607753</c:v>
                </c:pt>
                <c:pt idx="32">
                  <c:v>0.5470565200365487</c:v>
                </c:pt>
                <c:pt idx="33">
                  <c:v>0.5429908364203548</c:v>
                </c:pt>
                <c:pt idx="34">
                  <c:v>0.529041687849517</c:v>
                </c:pt>
                <c:pt idx="35">
                  <c:v>0.5546735108033902</c:v>
                </c:pt>
                <c:pt idx="36">
                  <c:v>0.5827659074900211</c:v>
                </c:pt>
                <c:pt idx="37">
                  <c:v>0.5527985821279515</c:v>
                </c:pt>
                <c:pt idx="38">
                  <c:v>0.5356860530773574</c:v>
                </c:pt>
                <c:pt idx="39">
                  <c:v>0.5084765443567116</c:v>
                </c:pt>
                <c:pt idx="40">
                  <c:v>0.43901209677419356</c:v>
                </c:pt>
                <c:pt idx="41">
                  <c:v>0.4424403518764635</c:v>
                </c:pt>
                <c:pt idx="42">
                  <c:v>0.43784122999686226</c:v>
                </c:pt>
                <c:pt idx="43">
                  <c:v>0.5177123612323812</c:v>
                </c:pt>
                <c:pt idx="44">
                  <c:v>0.6500770613922425</c:v>
                </c:pt>
                <c:pt idx="45">
                  <c:v>0.6589768654284784</c:v>
                </c:pt>
                <c:pt idx="46">
                  <c:v>0.6627922335226523</c:v>
                </c:pt>
                <c:pt idx="47">
                  <c:v>0.6109595834366477</c:v>
                </c:pt>
                <c:pt idx="48">
                  <c:v>0.5756297598125366</c:v>
                </c:pt>
                <c:pt idx="49">
                  <c:v>0.5191472104744801</c:v>
                </c:pt>
                <c:pt idx="50">
                  <c:v>0.46499331822671547</c:v>
                </c:pt>
                <c:pt idx="51">
                  <c:v>0.4706811797752809</c:v>
                </c:pt>
              </c:numCache>
            </c:numRef>
          </c:xVal>
          <c:yVal>
            <c:numRef>
              <c:f>Sheet1!$B$69:$B$120</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0.503355573190574</c:v>
                </c:pt>
              </c:numCache>
            </c:numRef>
          </c:xVal>
          <c:yVal>
            <c:numRef>
              <c:f>Sheet1!$B$123:$B$124</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0.503355573190574</c:v>
                </c:pt>
                <c:pt idx="1">
                  <c:v>0.503355573190574</c:v>
                </c:pt>
              </c:numCache>
            </c:numRef>
          </c:xVal>
          <c:yVal>
            <c:numRef>
              <c:f>Sheet1!$B$127:$B$128</c:f>
              <c:numCache>
                <c:formatCode>General</c:formatCode>
                <c:ptCount val="2"/>
                <c:pt idx="0">
                  <c:v>0.19688931938704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0.5252930871575393</c:v>
                </c:pt>
              </c:numCache>
            </c:numRef>
          </c:xVal>
          <c:yVal>
            <c:numRef>
              <c:f>Sheet1!$B$131:$B$132</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0.5252930871575393</c:v>
                </c:pt>
                <c:pt idx="1">
                  <c:v>0.5252930871575393</c:v>
                </c:pt>
              </c:numCache>
            </c:numRef>
          </c:xVal>
          <c:yVal>
            <c:numRef>
              <c:f>Sheet1!$B$135:$B$136</c:f>
              <c:numCache>
                <c:formatCode>General</c:formatCode>
                <c:ptCount val="2"/>
                <c:pt idx="0">
                  <c:v>0.185607272330652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0.5252930871575393</c:v>
                </c:pt>
              </c:numCache>
            </c:numRef>
          </c:xVal>
          <c:yVal>
            <c:numRef>
              <c:f>Sheet1!$B$139:$B$140</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0.5252930871575393</c:v>
                </c:pt>
                <c:pt idx="1">
                  <c:v>0.5252930871575393</c:v>
                </c:pt>
              </c:numCache>
            </c:numRef>
          </c:xVal>
          <c:yVal>
            <c:numRef>
              <c:f>Sheet1!$B$143:$B$144</c:f>
              <c:numCache>
                <c:formatCode>General</c:formatCode>
                <c:ptCount val="2"/>
                <c:pt idx="0">
                  <c:v>0.1856072723306522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0.6066546762589928</c:v>
                </c:pt>
                <c:pt idx="1">
                  <c:v>0.552454508220701</c:v>
                </c:pt>
                <c:pt idx="2">
                  <c:v>0.5561814234583113</c:v>
                </c:pt>
                <c:pt idx="3">
                  <c:v>0.57032634165857</c:v>
                </c:pt>
                <c:pt idx="4">
                  <c:v>0.6000471364600518</c:v>
                </c:pt>
                <c:pt idx="5">
                  <c:v>0.6374081747975138</c:v>
                </c:pt>
                <c:pt idx="6">
                  <c:v>0.6255437180861123</c:v>
                </c:pt>
                <c:pt idx="7">
                  <c:v>0.6220110948160429</c:v>
                </c:pt>
                <c:pt idx="8">
                  <c:v>0.5656145147259849</c:v>
                </c:pt>
                <c:pt idx="9">
                  <c:v>0.4966096609660966</c:v>
                </c:pt>
                <c:pt idx="10">
                  <c:v>0.4858956276445698</c:v>
                </c:pt>
                <c:pt idx="11">
                  <c:v>0.48150312664367945</c:v>
                </c:pt>
                <c:pt idx="12">
                  <c:v>0.48420434527304757</c:v>
                </c:pt>
                <c:pt idx="13">
                  <c:v>0.5226103919134598</c:v>
                </c:pt>
                <c:pt idx="14">
                  <c:v>0.6022610483042138</c:v>
                </c:pt>
                <c:pt idx="15">
                  <c:v>0.6087452015355086</c:v>
                </c:pt>
                <c:pt idx="16">
                  <c:v>0.6541629133959593</c:v>
                </c:pt>
                <c:pt idx="17">
                  <c:v>0.6658957964902734</c:v>
                </c:pt>
                <c:pt idx="18">
                  <c:v>0.6022644022644023</c:v>
                </c:pt>
                <c:pt idx="19">
                  <c:v>0.6168865787018526</c:v>
                </c:pt>
                <c:pt idx="20">
                  <c:v>0.5919310132429936</c:v>
                </c:pt>
                <c:pt idx="21">
                  <c:v>0.6077228437387224</c:v>
                </c:pt>
                <c:pt idx="22">
                  <c:v>0.6370906801007556</c:v>
                </c:pt>
                <c:pt idx="23">
                  <c:v>0.6440279542566709</c:v>
                </c:pt>
                <c:pt idx="24">
                  <c:v>0.6382536382536382</c:v>
                </c:pt>
                <c:pt idx="25">
                  <c:v>0.6161425704032601</c:v>
                </c:pt>
                <c:pt idx="26">
                  <c:v>0.6440257177414221</c:v>
                </c:pt>
                <c:pt idx="27">
                  <c:v>0.6319939917386406</c:v>
                </c:pt>
                <c:pt idx="28">
                  <c:v>0.5929854681464222</c:v>
                </c:pt>
                <c:pt idx="29">
                  <c:v>0.5588444655356508</c:v>
                </c:pt>
                <c:pt idx="30">
                  <c:v>0.5355664050429516</c:v>
                </c:pt>
                <c:pt idx="31">
                  <c:v>0.5366534640607753</c:v>
                </c:pt>
                <c:pt idx="32">
                  <c:v>0.5470565200365487</c:v>
                </c:pt>
                <c:pt idx="33">
                  <c:v>0.5429908364203548</c:v>
                </c:pt>
                <c:pt idx="34">
                  <c:v>0.529041687849517</c:v>
                </c:pt>
                <c:pt idx="35">
                  <c:v>0.5546735108033902</c:v>
                </c:pt>
                <c:pt idx="36">
                  <c:v>0.5827659074900211</c:v>
                </c:pt>
                <c:pt idx="37">
                  <c:v>0.5527985821279515</c:v>
                </c:pt>
                <c:pt idx="38">
                  <c:v>0.5356860530773574</c:v>
                </c:pt>
                <c:pt idx="39">
                  <c:v>0.5084765443567116</c:v>
                </c:pt>
                <c:pt idx="40">
                  <c:v>0.43901209677419356</c:v>
                </c:pt>
                <c:pt idx="41">
                  <c:v>0.4424403518764635</c:v>
                </c:pt>
                <c:pt idx="42">
                  <c:v>0.43784122999686226</c:v>
                </c:pt>
                <c:pt idx="43">
                  <c:v>0.5177123612323812</c:v>
                </c:pt>
                <c:pt idx="44">
                  <c:v>0.6500770613922425</c:v>
                </c:pt>
                <c:pt idx="45">
                  <c:v>0.6589768654284784</c:v>
                </c:pt>
                <c:pt idx="46">
                  <c:v>0.6627922335226523</c:v>
                </c:pt>
                <c:pt idx="47">
                  <c:v>0.6109595834366477</c:v>
                </c:pt>
                <c:pt idx="48">
                  <c:v>0.5756297598125366</c:v>
                </c:pt>
                <c:pt idx="49">
                  <c:v>0.5191472104744801</c:v>
                </c:pt>
                <c:pt idx="50">
                  <c:v>0.46499331822671547</c:v>
                </c:pt>
                <c:pt idx="51">
                  <c:v>0.4706811797752809</c:v>
                </c:pt>
                <c:pt idx="52">
                  <c:v>0.5252930871575393</c:v>
                </c:pt>
                <c:pt idx="53">
                  <c:v>0.503355573190574</c:v>
                </c:pt>
                <c:pt idx="54">
                  <c:v>0.5252930871575393</c:v>
                </c:pt>
              </c:numCache>
            </c:numRef>
          </c:xVal>
          <c:yVal>
            <c:numRef>
              <c:f>Sheet1!$B$147:$B$201</c:f>
              <c:numCache>
                <c:formatCode>General</c:formatCode>
                <c:ptCount val="55"/>
                <c:pt idx="0">
                  <c:v>0.14376455130913984</c:v>
                </c:pt>
                <c:pt idx="1">
                  <c:v>0.1716386690051132</c:v>
                </c:pt>
                <c:pt idx="2">
                  <c:v>0.16972198723573795</c:v>
                </c:pt>
                <c:pt idx="3">
                  <c:v>0.16244752427770115</c:v>
                </c:pt>
                <c:pt idx="4">
                  <c:v>0.14716268361578488</c:v>
                </c:pt>
                <c:pt idx="5">
                  <c:v>0.1279486107161133</c:v>
                </c:pt>
                <c:pt idx="6">
                  <c:v>0.13405027561388155</c:v>
                </c:pt>
                <c:pt idx="7">
                  <c:v>0.13586703671203687</c:v>
                </c:pt>
                <c:pt idx="8">
                  <c:v>0.16487072743805198</c:v>
                </c:pt>
                <c:pt idx="9">
                  <c:v>0.20035861400581428</c:v>
                </c:pt>
                <c:pt idx="10">
                  <c:v>0.20586863798935304</c:v>
                </c:pt>
                <c:pt idx="11">
                  <c:v>0.20812761788388023</c:v>
                </c:pt>
                <c:pt idx="12">
                  <c:v>0.20673843241227122</c:v>
                </c:pt>
                <c:pt idx="13">
                  <c:v>0.18698693157678353</c:v>
                </c:pt>
                <c:pt idx="14">
                  <c:v>0.14602411077466226</c:v>
                </c:pt>
                <c:pt idx="15">
                  <c:v>0.14268943383786487</c:v>
                </c:pt>
                <c:pt idx="16">
                  <c:v>0.11933196666201384</c:v>
                </c:pt>
                <c:pt idx="17">
                  <c:v>0.11329796757822957</c:v>
                </c:pt>
                <c:pt idx="18">
                  <c:v>0.14602238589659594</c:v>
                </c:pt>
                <c:pt idx="19">
                  <c:v>0.1385024780855938</c:v>
                </c:pt>
                <c:pt idx="20">
                  <c:v>0.15133665174126143</c:v>
                </c:pt>
                <c:pt idx="21">
                  <c:v>0.14321521304827023</c:v>
                </c:pt>
                <c:pt idx="22">
                  <c:v>0.12811189221256608</c:v>
                </c:pt>
                <c:pt idx="23">
                  <c:v>0.12454418378452942</c:v>
                </c:pt>
                <c:pt idx="24">
                  <c:v>0.12751380490763303</c:v>
                </c:pt>
                <c:pt idx="25">
                  <c:v>0.13888510743218724</c:v>
                </c:pt>
                <c:pt idx="26">
                  <c:v>0.12454533398187251</c:v>
                </c:pt>
                <c:pt idx="27">
                  <c:v>0.13073302230140504</c:v>
                </c:pt>
                <c:pt idx="28">
                  <c:v>0.150794365598117</c:v>
                </c:pt>
                <c:pt idx="29">
                  <c:v>0.16835243524024146</c:v>
                </c:pt>
                <c:pt idx="30">
                  <c:v>0.18032389993107184</c:v>
                </c:pt>
                <c:pt idx="31">
                  <c:v>0.1797648461107243</c:v>
                </c:pt>
                <c:pt idx="32">
                  <c:v>0.17441475187371674</c:v>
                </c:pt>
                <c:pt idx="33">
                  <c:v>0.17650565579033028</c:v>
                </c:pt>
                <c:pt idx="34">
                  <c:v>0.1836794381436886</c:v>
                </c:pt>
                <c:pt idx="35">
                  <c:v>0.1704974780937889</c:v>
                </c:pt>
                <c:pt idx="36">
                  <c:v>0.156050091675136</c:v>
                </c:pt>
                <c:pt idx="37">
                  <c:v>0.17146171832518098</c:v>
                </c:pt>
                <c:pt idx="38">
                  <c:v>0.18026236721791195</c:v>
                </c:pt>
                <c:pt idx="39">
                  <c:v>0.19425570111298518</c:v>
                </c:pt>
                <c:pt idx="40">
                  <c:v>0.22997994806057645</c:v>
                </c:pt>
                <c:pt idx="41">
                  <c:v>0.2282168615301992</c:v>
                </c:pt>
                <c:pt idx="42">
                  <c:v>0.23058210262095677</c:v>
                </c:pt>
                <c:pt idx="43">
                  <c:v>0.18950589579081362</c:v>
                </c:pt>
                <c:pt idx="44">
                  <c:v>0.12143324279753193</c:v>
                </c:pt>
                <c:pt idx="45">
                  <c:v>0.11685624250111443</c:v>
                </c:pt>
                <c:pt idx="46">
                  <c:v>0.11489407110645516</c:v>
                </c:pt>
                <c:pt idx="47">
                  <c:v>0.14155061925536067</c:v>
                </c:pt>
                <c:pt idx="48">
                  <c:v>0.15972007698067087</c:v>
                </c:pt>
                <c:pt idx="49">
                  <c:v>0.18876798005922424</c:v>
                </c:pt>
                <c:pt idx="50">
                  <c:v>0.2166182989944499</c:v>
                </c:pt>
                <c:pt idx="51">
                  <c:v>0.21369313975636223</c:v>
                </c:pt>
                <c:pt idx="52">
                  <c:v>0.18560727233065222</c:v>
                </c:pt>
                <c:pt idx="53">
                  <c:v>0.19688931938704218</c:v>
                </c:pt>
                <c:pt idx="54">
                  <c:v>0.1856072723306522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Gillett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3.6413</c:v>
                </c:pt>
                <c:pt idx="1">
                  <c:v>3.3354</c:v>
                </c:pt>
                <c:pt idx="2">
                  <c:v>3.7432</c:v>
                </c:pt>
                <c:pt idx="3">
                  <c:v>3.7382</c:v>
                </c:pt>
                <c:pt idx="4">
                  <c:v>3.7433</c:v>
                </c:pt>
                <c:pt idx="5">
                  <c:v>3.7337</c:v>
                </c:pt>
                <c:pt idx="6">
                  <c:v>3.6105</c:v>
                </c:pt>
                <c:pt idx="7">
                  <c:v>3.2802</c:v>
                </c:pt>
                <c:pt idx="8">
                  <c:v>3.388</c:v>
                </c:pt>
                <c:pt idx="9">
                  <c:v>3.279</c:v>
                </c:pt>
                <c:pt idx="10">
                  <c:v>3.5411</c:v>
                </c:pt>
                <c:pt idx="11">
                  <c:v>3.4914</c:v>
                </c:pt>
                <c:pt idx="12">
                  <c:v>3.4988</c:v>
                </c:pt>
                <c:pt idx="13">
                  <c:v>3.5156</c:v>
                </c:pt>
                <c:pt idx="14">
                  <c:v>3.4401</c:v>
                </c:pt>
                <c:pt idx="15">
                  <c:v>3.5517</c:v>
                </c:pt>
                <c:pt idx="16">
                  <c:v>3.5044</c:v>
                </c:pt>
                <c:pt idx="17">
                  <c:v>3.6413</c:v>
                </c:pt>
                <c:pt idx="18">
                  <c:v>3.4857</c:v>
                </c:pt>
                <c:pt idx="19">
                  <c:v>3.5504</c:v>
                </c:pt>
                <c:pt idx="20">
                  <c:v>3.5797</c:v>
                </c:pt>
                <c:pt idx="21">
                  <c:v>3.6667</c:v>
                </c:pt>
                <c:pt idx="22">
                  <c:v>3.5838</c:v>
                </c:pt>
                <c:pt idx="23">
                  <c:v>3.6089</c:v>
                </c:pt>
                <c:pt idx="24">
                  <c:v>3.6579</c:v>
                </c:pt>
                <c:pt idx="25">
                  <c:v>3.5863</c:v>
                </c:pt>
                <c:pt idx="26">
                  <c:v>3.6873</c:v>
                </c:pt>
                <c:pt idx="27">
                  <c:v>3.717</c:v>
                </c:pt>
                <c:pt idx="28">
                  <c:v>3.6397</c:v>
                </c:pt>
                <c:pt idx="29">
                  <c:v>3.6747</c:v>
                </c:pt>
                <c:pt idx="30">
                  <c:v>3.5723</c:v>
                </c:pt>
                <c:pt idx="31">
                  <c:v>3.7212</c:v>
                </c:pt>
                <c:pt idx="32">
                  <c:v>3.6909</c:v>
                </c:pt>
                <c:pt idx="33">
                  <c:v>3.6977</c:v>
                </c:pt>
                <c:pt idx="34">
                  <c:v>3.7258</c:v>
                </c:pt>
                <c:pt idx="35">
                  <c:v>3.6453</c:v>
                </c:pt>
                <c:pt idx="36">
                  <c:v>3.6377</c:v>
                </c:pt>
                <c:pt idx="37">
                  <c:v>3.6455</c:v>
                </c:pt>
                <c:pt idx="38">
                  <c:v>3.7353</c:v>
                </c:pt>
                <c:pt idx="39">
                  <c:v>3.7017</c:v>
                </c:pt>
                <c:pt idx="40">
                  <c:v>3.7075</c:v>
                </c:pt>
                <c:pt idx="41">
                  <c:v>3.6669</c:v>
                </c:pt>
                <c:pt idx="42">
                  <c:v>3.6409</c:v>
                </c:pt>
                <c:pt idx="43">
                  <c:v>3.6665</c:v>
                </c:pt>
                <c:pt idx="44">
                  <c:v>3.7404</c:v>
                </c:pt>
                <c:pt idx="45">
                  <c:v>3.6443</c:v>
                </c:pt>
                <c:pt idx="46">
                  <c:v>3.6542</c:v>
                </c:pt>
                <c:pt idx="47">
                  <c:v>3.7142</c:v>
                </c:pt>
                <c:pt idx="48">
                  <c:v>3.75</c:v>
                </c:pt>
                <c:pt idx="49">
                  <c:v>3.3544</c:v>
                </c:pt>
                <c:pt idx="50">
                  <c:v>2.9935</c:v>
                </c:pt>
                <c:pt idx="51">
                  <c:v>2.8712</c:v>
                </c:pt>
                <c:pt idx="52">
                  <c:v>2.9604</c:v>
                </c:pt>
                <c:pt idx="53">
                  <c:v>1.1825</c:v>
                </c:pt>
                <c:pt idx="54">
                  <c:v>0.9136</c:v>
                </c:pt>
                <c:pt idx="55">
                  <c:v>0.8778</c:v>
                </c:pt>
                <c:pt idx="56">
                  <c:v>0.7979</c:v>
                </c:pt>
                <c:pt idx="57">
                  <c:v>0.8887</c:v>
                </c:pt>
                <c:pt idx="58">
                  <c:v>0.8619</c:v>
                </c:pt>
                <c:pt idx="59">
                  <c:v>0.901</c:v>
                </c:pt>
                <c:pt idx="60">
                  <c:v>1.0218</c:v>
                </c:pt>
                <c:pt idx="61">
                  <c:v>1.1842</c:v>
                </c:pt>
                <c:pt idx="62">
                  <c:v>0.9912</c:v>
                </c:pt>
                <c:pt idx="63">
                  <c:v>0.774</c:v>
                </c:pt>
                <c:pt idx="64">
                  <c:v>1.0441</c:v>
                </c:pt>
              </c:numCache>
            </c:numRef>
          </c:xVal>
          <c:yVal>
            <c:numRef>
              <c:f>Sheet1!$B$2:$B$66</c:f>
              <c:numCache>
                <c:formatCode>General</c:formatCode>
                <c:ptCount val="65"/>
                <c:pt idx="0">
                  <c:v>6.776365216622719e-05</c:v>
                </c:pt>
                <c:pt idx="1">
                  <c:v>0.00011677385177125996</c:v>
                </c:pt>
                <c:pt idx="2">
                  <c:v>0.00020586578385483681</c:v>
                </c:pt>
                <c:pt idx="3">
                  <c:v>0.00030549267177838523</c:v>
                </c:pt>
                <c:pt idx="4">
                  <c:v>0.00031064966691837613</c:v>
                </c:pt>
                <c:pt idx="5">
                  <c:v>0.0004597741801430605</c:v>
                </c:pt>
                <c:pt idx="6">
                  <c:v>0.0004853553887851865</c:v>
                </c:pt>
                <c:pt idx="7">
                  <c:v>0.0005470029457562019</c:v>
                </c:pt>
                <c:pt idx="8">
                  <c:v>0.0005658740802145713</c:v>
                </c:pt>
                <c:pt idx="9">
                  <c:v>0.0005885316463844386</c:v>
                </c:pt>
                <c:pt idx="10">
                  <c:v>0.000573447367694856</c:v>
                </c:pt>
                <c:pt idx="11">
                  <c:v>0.00055029656376392</c:v>
                </c:pt>
                <c:pt idx="12">
                  <c:v>0.0005863141708645133</c:v>
                </c:pt>
                <c:pt idx="13">
                  <c:v>0.0006797669483820158</c:v>
                </c:pt>
                <c:pt idx="14">
                  <c:v>0.0008414197517523575</c:v>
                </c:pt>
                <c:pt idx="15">
                  <c:v>0.0007242053857572941</c:v>
                </c:pt>
                <c:pt idx="16">
                  <c:v>0.0007990573926476907</c:v>
                </c:pt>
                <c:pt idx="17">
                  <c:v>0.0007763899554874086</c:v>
                </c:pt>
                <c:pt idx="18">
                  <c:v>0.0007765934727318617</c:v>
                </c:pt>
                <c:pt idx="19">
                  <c:v>0.0007014105423736397</c:v>
                </c:pt>
                <c:pt idx="20">
                  <c:v>0.0008618455807507791</c:v>
                </c:pt>
                <c:pt idx="21">
                  <c:v>0.0008439423692165126</c:v>
                </c:pt>
                <c:pt idx="22">
                  <c:v>0.0009198784504824926</c:v>
                </c:pt>
                <c:pt idx="23">
                  <c:v>0.0008764169656741268</c:v>
                </c:pt>
                <c:pt idx="24">
                  <c:v>0.0009281206668019018</c:v>
                </c:pt>
                <c:pt idx="25">
                  <c:v>0.0009044237320244085</c:v>
                </c:pt>
                <c:pt idx="26">
                  <c:v>0.0009028234289260152</c:v>
                </c:pt>
                <c:pt idx="27">
                  <c:v>0.0009250417760802101</c:v>
                </c:pt>
                <c:pt idx="28">
                  <c:v>0.0009705793145283591</c:v>
                </c:pt>
                <c:pt idx="29">
                  <c:v>0.0009851003570988794</c:v>
                </c:pt>
                <c:pt idx="30">
                  <c:v>0.0009562799160541306</c:v>
                </c:pt>
                <c:pt idx="31">
                  <c:v>0.0009625663499761673</c:v>
                </c:pt>
                <c:pt idx="32">
                  <c:v>0.0010496700197792298</c:v>
                </c:pt>
                <c:pt idx="33">
                  <c:v>0.0010027206973268503</c:v>
                </c:pt>
                <c:pt idx="34">
                  <c:v>0.0009599159868401261</c:v>
                </c:pt>
                <c:pt idx="35">
                  <c:v>0.0009573246116608539</c:v>
                </c:pt>
                <c:pt idx="36">
                  <c:v>0.001113356719638319</c:v>
                </c:pt>
                <c:pt idx="37">
                  <c:v>0.0010375325222372264</c:v>
                </c:pt>
                <c:pt idx="38">
                  <c:v>0.0010267154524270532</c:v>
                </c:pt>
                <c:pt idx="39">
                  <c:v>0.0010937432597723734</c:v>
                </c:pt>
                <c:pt idx="40">
                  <c:v>0.0011643951258420032</c:v>
                </c:pt>
                <c:pt idx="41">
                  <c:v>0.0011441441506350792</c:v>
                </c:pt>
                <c:pt idx="42">
                  <c:v>0.0010531330344122857</c:v>
                </c:pt>
                <c:pt idx="43">
                  <c:v>0.001116693800736092</c:v>
                </c:pt>
                <c:pt idx="44">
                  <c:v>0.001084159244186127</c:v>
                </c:pt>
                <c:pt idx="45">
                  <c:v>0.0011246031859011773</c:v>
                </c:pt>
                <c:pt idx="46">
                  <c:v>0.0010649635434129934</c:v>
                </c:pt>
                <c:pt idx="47">
                  <c:v>0.0010114632501685772</c:v>
                </c:pt>
                <c:pt idx="48">
                  <c:v>0.0009867424668297128</c:v>
                </c:pt>
                <c:pt idx="49">
                  <c:v>0.0010875294485789657</c:v>
                </c:pt>
                <c:pt idx="50">
                  <c:v>0.0011809343732420866</c:v>
                </c:pt>
                <c:pt idx="51">
                  <c:v>0.0011994448024437174</c:v>
                </c:pt>
                <c:pt idx="52">
                  <c:v>0.000932344237707244</c:v>
                </c:pt>
                <c:pt idx="53">
                  <c:v>0.004220151733505126</c:v>
                </c:pt>
                <c:pt idx="54">
                  <c:v>0.0042350061760506735</c:v>
                </c:pt>
                <c:pt idx="55">
                  <c:v>0.0032925852488926723</c:v>
                </c:pt>
                <c:pt idx="56">
                  <c:v>0.0016123177577995508</c:v>
                </c:pt>
                <c:pt idx="57">
                  <c:v>0.0009721046353814357</c:v>
                </c:pt>
                <c:pt idx="58">
                  <c:v>0.0006290259533112975</c:v>
                </c:pt>
                <c:pt idx="59">
                  <c:v>0.0005668528581871653</c:v>
                </c:pt>
                <c:pt idx="60">
                  <c:v>0.00047827032979102786</c:v>
                </c:pt>
                <c:pt idx="61">
                  <c:v>0.0002140778736433519</c:v>
                </c:pt>
                <c:pt idx="62">
                  <c:v>0.0002503562053362689</c:v>
                </c:pt>
                <c:pt idx="63">
                  <c:v>0.00021673007753295856</c:v>
                </c:pt>
                <c:pt idx="64">
                  <c:v>0.00019706674839140644</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19</c:f>
              <c:numCache>
                <c:formatCode>General</c:formatCode>
                <c:ptCount val="51"/>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numCache>
            </c:numRef>
          </c:xVal>
          <c:yVal>
            <c:numRef>
              <c:f>Sheet1!$B$69:$B$119</c:f>
              <c:numCache>
                <c:formatCode>General</c:formatCode>
                <c:ptCount val="51"/>
                <c:pt idx="0">
                  <c:v>4.903321639872658e-05</c:v>
                </c:pt>
                <c:pt idx="1">
                  <c:v>0.00010292066801394722</c:v>
                </c:pt>
                <c:pt idx="2">
                  <c:v>7.666015301071695e-05</c:v>
                </c:pt>
                <c:pt idx="3">
                  <c:v>8.085230305539356e-05</c:v>
                </c:pt>
                <c:pt idx="4">
                  <c:v>8.476719396570602e-05</c:v>
                </c:pt>
                <c:pt idx="5">
                  <c:v>2.8900731766528328e-05</c:v>
                </c:pt>
                <c:pt idx="6">
                  <c:v>3.863186727873412e-05</c:v>
                </c:pt>
                <c:pt idx="7">
                  <c:v>0.00013232593027286469</c:v>
                </c:pt>
                <c:pt idx="8">
                  <c:v>3.2007984537233654e-05</c:v>
                </c:pt>
                <c:pt idx="9">
                  <c:v>4.089084801485155e-05</c:v>
                </c:pt>
                <c:pt idx="10">
                  <c:v>7.726869473141974e-05</c:v>
                </c:pt>
                <c:pt idx="11">
                  <c:v>2.5746781831068213e-05</c:v>
                </c:pt>
                <c:pt idx="12">
                  <c:v>3.1768379632136604e-05</c:v>
                </c:pt>
                <c:pt idx="13">
                  <c:v>4.7829567308490744e-05</c:v>
                </c:pt>
                <c:pt idx="14">
                  <c:v>5.153583959756235e-05</c:v>
                </c:pt>
                <c:pt idx="15">
                  <c:v>5.429843563349128e-05</c:v>
                </c:pt>
                <c:pt idx="16">
                  <c:v>1.7366739221043857e-05</c:v>
                </c:pt>
                <c:pt idx="17">
                  <c:v>1.1043393634863994e-05</c:v>
                </c:pt>
                <c:pt idx="18">
                  <c:v>1.9056771483447152e-05</c:v>
                </c:pt>
                <c:pt idx="19">
                  <c:v>5.4261899125772975e-06</c:v>
                </c:pt>
                <c:pt idx="20">
                  <c:v>1.915455881920354e-05</c:v>
                </c:pt>
                <c:pt idx="21">
                  <c:v>5.58716962367619e-06</c:v>
                </c:pt>
                <c:pt idx="22">
                  <c:v>3.0339324660423662e-05</c:v>
                </c:pt>
                <c:pt idx="23">
                  <c:v>1.4847093495859516e-05</c:v>
                </c:pt>
                <c:pt idx="24">
                  <c:v>8.758261047269065e-06</c:v>
                </c:pt>
                <c:pt idx="25">
                  <c:v>1.795853374558145e-05</c:v>
                </c:pt>
                <c:pt idx="26">
                  <c:v>2.71527552919023e-06</c:v>
                </c:pt>
                <c:pt idx="27">
                  <c:v>5.9932096934173585e-06</c:v>
                </c:pt>
                <c:pt idx="28">
                  <c:v>1.4620962512583166e-05</c:v>
                </c:pt>
                <c:pt idx="29">
                  <c:v>1.18885655033953e-05</c:v>
                </c:pt>
                <c:pt idx="30">
                  <c:v>2.9004948969417907e-06</c:v>
                </c:pt>
                <c:pt idx="31">
                  <c:v>8.47100480941298e-06</c:v>
                </c:pt>
                <c:pt idx="32">
                  <c:v>1.7301487062813048e-05</c:v>
                </c:pt>
                <c:pt idx="33">
                  <c:v>5.746106833054767e-06</c:v>
                </c:pt>
                <c:pt idx="34">
                  <c:v>3.0723334833656186e-06</c:v>
                </c:pt>
                <c:pt idx="35">
                  <c:v>2.6537218116693435e-05</c:v>
                </c:pt>
                <c:pt idx="36">
                  <c:v>9.711973224089821e-06</c:v>
                </c:pt>
                <c:pt idx="37">
                  <c:v>1.678388579125182e-05</c:v>
                </c:pt>
                <c:pt idx="38">
                  <c:v>2.599469419408505e-05</c:v>
                </c:pt>
                <c:pt idx="39">
                  <c:v>6.480491406405502e-05</c:v>
                </c:pt>
                <c:pt idx="40">
                  <c:v>0.00029862017380268387</c:v>
                </c:pt>
                <c:pt idx="41">
                  <c:v>0.0005588416139764195</c:v>
                </c:pt>
                <c:pt idx="42">
                  <c:v>0.0006684525976285917</c:v>
                </c:pt>
                <c:pt idx="43">
                  <c:v>0.0007629505558589305</c:v>
                </c:pt>
                <c:pt idx="44">
                  <c:v>0.0007450368732680164</c:v>
                </c:pt>
                <c:pt idx="45">
                  <c:v>0.0008208546076590636</c:v>
                </c:pt>
                <c:pt idx="46">
                  <c:v>0.0007770045774793049</c:v>
                </c:pt>
                <c:pt idx="47">
                  <c:v>0.0007067830465938441</c:v>
                </c:pt>
                <c:pt idx="48">
                  <c:v>0.0008317683712162094</c:v>
                </c:pt>
                <c:pt idx="49">
                  <c:v>0.0007751429716242305</c:v>
                </c:pt>
                <c:pt idx="50">
                  <c:v>0.000893418266461998</c:v>
                </c:pt>
              </c:numCache>
            </c:numRef>
          </c:yVal>
          <c:smooth val="0"/>
          <c:extLst>
            <c:ext xmlns:c16="http://schemas.microsoft.com/office/drawing/2014/chart" uri="{C3380CC4-5D6E-409C-BE32-E72D297353CC}">
              <c16:uniqueId val="{00000002-F32D-48B7-BC20-E66FC6253BAD}"/>
            </c:ext>
          </c:extLst>
        </c:ser>
        <c:ser>
          <c:idx val="2"/>
          <c:order val="2"/>
          <c:tx>
            <c:strRef>
              <c:f>Sheet1!$B$121</c:f>
              <c:strCache>
                <c:ptCount val="1"/>
                <c:pt idx="0">
                  <c:v>Custom Linep3yQ</c:v>
                </c:pt>
              </c:strCache>
            </c:strRef>
          </c:tx>
          <c:spPr>
            <a:ln w="19050" cap="rnd">
              <a:solidFill>
                <a:srgbClr val="C00000"/>
              </a:solidFill>
              <a:prstDash val="sysDot"/>
              <a:round/>
            </a:ln>
            <a:effectLst/>
          </c:spPr>
          <c:marker>
            <c:symbol val="none"/>
          </c:marker>
          <c:xVal>
            <c:numRef>
              <c:f>Sheet1!$A$122:$A$123</c:f>
              <c:numCache>
                <c:formatCode>General</c:formatCode>
                <c:ptCount val="2"/>
                <c:pt idx="0">
                  <c:v>0</c:v>
                </c:pt>
                <c:pt idx="1">
                  <c:v>8.033411912762721</c:v>
                </c:pt>
              </c:numCache>
            </c:numRef>
          </c:xVal>
          <c:yVal>
            <c:numRef>
              <c:f>Sheet1!$B$122:$B$123</c:f>
              <c:numCache>
                <c:formatCode>General</c:formatCode>
                <c:ptCount val="2"/>
                <c:pt idx="0">
                  <c:v>0.0013705299873484752</c:v>
                </c:pt>
                <c:pt idx="1">
                  <c:v>0.0013705299873484752</c:v>
                </c:pt>
              </c:numCache>
            </c:numRef>
          </c:yVal>
          <c:smooth val="0"/>
          <c:extLst>
            <c:ext xmlns:c16="http://schemas.microsoft.com/office/drawing/2014/chart" uri="{C3380CC4-5D6E-409C-BE32-E72D297353CC}">
              <c16:uniqueId val="{00000003-F32D-48B7-BC20-E66FC6253BAD}"/>
            </c:ext>
          </c:extLst>
        </c:ser>
        <c:ser>
          <c:idx val="3"/>
          <c:order val="3"/>
          <c:tx>
            <c:strRef>
              <c:f>Sheet1!$B$12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6:$A$127</c:f>
              <c:numCache>
                <c:formatCode>General</c:formatCode>
                <c:ptCount val="2"/>
                <c:pt idx="0">
                  <c:v>8.033411912762721</c:v>
                </c:pt>
                <c:pt idx="1">
                  <c:v>8.033411912762721</c:v>
                </c:pt>
              </c:numCache>
            </c:numRef>
          </c:xVal>
          <c:yVal>
            <c:numRef>
              <c:f>Sheet1!$B$126:$B$127</c:f>
              <c:numCache>
                <c:formatCode>General</c:formatCode>
                <c:ptCount val="2"/>
                <c:pt idx="0">
                  <c:v>0.001370529987348475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2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0:$A$131</c:f>
              <c:numCache>
                <c:formatCode>General</c:formatCode>
                <c:ptCount val="2"/>
                <c:pt idx="0">
                  <c:v>0</c:v>
                </c:pt>
                <c:pt idx="1">
                  <c:v>4.135362265412641</c:v>
                </c:pt>
              </c:numCache>
            </c:numRef>
          </c:xVal>
          <c:yVal>
            <c:numRef>
              <c:f>Sheet1!$B$130:$B$131</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0A-F32D-48B7-BC20-E66FC6253BAD}"/>
            </c:ext>
          </c:extLst>
        </c:ser>
        <c:ser>
          <c:idx val="5"/>
          <c:order val="5"/>
          <c:tx>
            <c:strRef>
              <c:f>Sheet1!$B$13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4:$A$135</c:f>
              <c:numCache>
                <c:formatCode>General</c:formatCode>
                <c:ptCount val="2"/>
                <c:pt idx="0">
                  <c:v>4.135362265412641</c:v>
                </c:pt>
                <c:pt idx="1">
                  <c:v>4.135362265412641</c:v>
                </c:pt>
              </c:numCache>
            </c:numRef>
          </c:xVal>
          <c:yVal>
            <c:numRef>
              <c:f>Sheet1!$B$134:$B$135</c:f>
              <c:numCache>
                <c:formatCode>General</c:formatCode>
                <c:ptCount val="2"/>
                <c:pt idx="0">
                  <c:v>0.000609974866448264</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8:$A$139</c:f>
              <c:numCache>
                <c:formatCode>General</c:formatCode>
                <c:ptCount val="2"/>
                <c:pt idx="0">
                  <c:v>0</c:v>
                </c:pt>
                <c:pt idx="1">
                  <c:v>4.135362265412641</c:v>
                </c:pt>
              </c:numCache>
            </c:numRef>
          </c:xVal>
          <c:yVal>
            <c:numRef>
              <c:f>Sheet1!$B$138:$B$139</c:f>
              <c:numCache>
                <c:formatCode>General</c:formatCode>
                <c:ptCount val="2"/>
                <c:pt idx="0">
                  <c:v>0.000609974866448264</c:v>
                </c:pt>
                <c:pt idx="1">
                  <c:v>0.000609974866448264</c:v>
                </c:pt>
              </c:numCache>
            </c:numRef>
          </c:yVal>
          <c:smooth val="0"/>
          <c:extLst>
            <c:ext xmlns:c16="http://schemas.microsoft.com/office/drawing/2014/chart" uri="{C3380CC4-5D6E-409C-BE32-E72D297353CC}">
              <c16:uniqueId val="{00000011-F32D-48B7-BC20-E66FC6253BAD}"/>
            </c:ext>
          </c:extLst>
        </c:ser>
        <c:ser>
          <c:idx val="7"/>
          <c:order val="7"/>
          <c:tx>
            <c:strRef>
              <c:f>Sheet1!$B$14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2:$A$143</c:f>
              <c:numCache>
                <c:formatCode>General</c:formatCode>
                <c:ptCount val="2"/>
                <c:pt idx="0">
                  <c:v>4.135362265412641</c:v>
                </c:pt>
                <c:pt idx="1">
                  <c:v>4.135362265412641</c:v>
                </c:pt>
              </c:numCache>
            </c:numRef>
          </c:xVal>
          <c:yVal>
            <c:numRef>
              <c:f>Sheet1!$B$142:$B$143</c:f>
              <c:numCache>
                <c:formatCode>General</c:formatCode>
                <c:ptCount val="2"/>
                <c:pt idx="0">
                  <c:v>0.00060997486644826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6:$A$199</c:f>
              <c:numCache>
                <c:formatCode>General</c:formatCode>
                <c:ptCount val="54"/>
                <c:pt idx="0">
                  <c:v>1.1029</c:v>
                </c:pt>
                <c:pt idx="1">
                  <c:v>1.0</c:v>
                </c:pt>
                <c:pt idx="2">
                  <c:v>1.125</c:v>
                </c:pt>
                <c:pt idx="3">
                  <c:v>1.0093</c:v>
                </c:pt>
                <c:pt idx="4">
                  <c:v>1.2</c:v>
                </c:pt>
                <c:pt idx="5">
                  <c:v>0.95</c:v>
                </c:pt>
                <c:pt idx="6">
                  <c:v>1.1346</c:v>
                </c:pt>
                <c:pt idx="7">
                  <c:v>0.8587</c:v>
                </c:pt>
                <c:pt idx="8">
                  <c:v>1.4773</c:v>
                </c:pt>
                <c:pt idx="9">
                  <c:v>1.45</c:v>
                </c:pt>
                <c:pt idx="10">
                  <c:v>0.963</c:v>
                </c:pt>
                <c:pt idx="11">
                  <c:v>1.6111</c:v>
                </c:pt>
                <c:pt idx="12">
                  <c:v>1.5682</c:v>
                </c:pt>
                <c:pt idx="13">
                  <c:v>0.75</c:v>
                </c:pt>
                <c:pt idx="14">
                  <c:v>1.0556</c:v>
                </c:pt>
                <c:pt idx="15">
                  <c:v>0.7237</c:v>
                </c:pt>
                <c:pt idx="16">
                  <c:v>0.7083</c:v>
                </c:pt>
                <c:pt idx="17">
                  <c:v>1.75</c:v>
                </c:pt>
                <c:pt idx="18">
                  <c:v>1.5714</c:v>
                </c:pt>
                <c:pt idx="19">
                  <c:v>0.875</c:v>
                </c:pt>
                <c:pt idx="20">
                  <c:v>1.9286</c:v>
                </c:pt>
                <c:pt idx="21">
                  <c:v>1.0</c:v>
                </c:pt>
                <c:pt idx="22">
                  <c:v>1.4091</c:v>
                </c:pt>
                <c:pt idx="23">
                  <c:v>2.0</c:v>
                </c:pt>
                <c:pt idx="24">
                  <c:v>0.5833</c:v>
                </c:pt>
                <c:pt idx="25">
                  <c:v>1.7083</c:v>
                </c:pt>
                <c:pt idx="26">
                  <c:v>0.5</c:v>
                </c:pt>
                <c:pt idx="27">
                  <c:v>1.5</c:v>
                </c:pt>
                <c:pt idx="28">
                  <c:v>1.45</c:v>
                </c:pt>
                <c:pt idx="29">
                  <c:v>1.6875</c:v>
                </c:pt>
                <c:pt idx="30">
                  <c:v>3.75</c:v>
                </c:pt>
                <c:pt idx="31">
                  <c:v>1.3333</c:v>
                </c:pt>
                <c:pt idx="32">
                  <c:v>1.75</c:v>
                </c:pt>
                <c:pt idx="33">
                  <c:v>1.0</c:v>
                </c:pt>
                <c:pt idx="34">
                  <c:v>0.5</c:v>
                </c:pt>
                <c:pt idx="35">
                  <c:v>1.3</c:v>
                </c:pt>
                <c:pt idx="36">
                  <c:v>1.875</c:v>
                </c:pt>
                <c:pt idx="37">
                  <c:v>2.0833</c:v>
                </c:pt>
                <c:pt idx="38">
                  <c:v>3.75</c:v>
                </c:pt>
                <c:pt idx="39">
                  <c:v>3.5238</c:v>
                </c:pt>
                <c:pt idx="40">
                  <c:v>3.6707</c:v>
                </c:pt>
                <c:pt idx="41">
                  <c:v>3.7032</c:v>
                </c:pt>
                <c:pt idx="42">
                  <c:v>3.725</c:v>
                </c:pt>
                <c:pt idx="43">
                  <c:v>3.7407</c:v>
                </c:pt>
                <c:pt idx="44">
                  <c:v>3.7398</c:v>
                </c:pt>
                <c:pt idx="45">
                  <c:v>3.7379</c:v>
                </c:pt>
                <c:pt idx="46">
                  <c:v>3.7401</c:v>
                </c:pt>
                <c:pt idx="47">
                  <c:v>3.7354</c:v>
                </c:pt>
                <c:pt idx="48">
                  <c:v>3.6453</c:v>
                </c:pt>
                <c:pt idx="49">
                  <c:v>3.7227</c:v>
                </c:pt>
                <c:pt idx="50">
                  <c:v>3.7353</c:v>
                </c:pt>
                <c:pt idx="51">
                  <c:v>4.135362265412641</c:v>
                </c:pt>
                <c:pt idx="52">
                  <c:v>8.033411912762721</c:v>
                </c:pt>
                <c:pt idx="53">
                  <c:v>4.135362265412641</c:v>
                </c:pt>
              </c:numCache>
            </c:numRef>
          </c:xVal>
          <c:yVal>
            <c:numRef>
              <c:f>Sheet1!$B$146:$B$199</c:f>
              <c:numCache>
                <c:formatCode>General</c:formatCode>
                <c:ptCount val="54"/>
                <c:pt idx="0">
                  <c:v>1.83059772477086e-05</c:v>
                </c:pt>
                <c:pt idx="1">
                  <c:v>-1.7710174087945873e-06</c:v>
                </c:pt>
                <c:pt idx="2">
                  <c:v>2.2617945973740886e-05</c:v>
                </c:pt>
                <c:pt idx="3">
                  <c:v>4.3521466866079574e-08</c:v>
                </c:pt>
                <c:pt idx="4">
                  <c:v>3.7251324003262154e-05</c:v>
                </c:pt>
                <c:pt idx="5">
                  <c:v>-1.1526602761808793e-05</c:v>
                </c:pt>
                <c:pt idx="6">
                  <c:v>2.44910183615196e-05</c:v>
                </c:pt>
                <c:pt idx="7">
                  <c:v>-2.934030161641266e-05</c:v>
                </c:pt>
                <c:pt idx="8">
                  <c:v>9.135580037107884e-05</c:v>
                </c:pt>
                <c:pt idx="9">
                  <c:v>8.602925076833305e-05</c:v>
                </c:pt>
                <c:pt idx="10">
                  <c:v>-8.990150570025097e-06</c:v>
                </c:pt>
                <c:pt idx="11">
                  <c:v>0.0001174617467757448</c:v>
                </c:pt>
                <c:pt idx="12">
                  <c:v>0.00010909145454285864</c:v>
                </c:pt>
                <c:pt idx="13">
                  <c:v>-5.0548944173865507e-05</c:v>
                </c:pt>
                <c:pt idx="14">
                  <c:v>9.077193503757202e-06</c:v>
                </c:pt>
                <c:pt idx="15">
                  <c:v>-5.5680382069550974e-05</c:v>
                </c:pt>
                <c:pt idx="16">
                  <c:v>-5.868510235827935e-05</c:v>
                </c:pt>
                <c:pt idx="17">
                  <c:v>0.00014456276288641817</c:v>
                </c:pt>
                <c:pt idx="18">
                  <c:v>0.00010971581200545149</c:v>
                </c:pt>
                <c:pt idx="19">
                  <c:v>-2.615998079133006e-05</c:v>
                </c:pt>
                <c:pt idx="20">
                  <c:v>0.00017940971376738485</c:v>
                </c:pt>
                <c:pt idx="21">
                  <c:v>-1.7710174087945873e-06</c:v>
                </c:pt>
                <c:pt idx="22">
                  <c:v>7.804918194956748e-05</c:v>
                </c:pt>
                <c:pt idx="23">
                  <c:v>0.00019334068965148912</c:v>
                </c:pt>
                <c:pt idx="24">
                  <c:v>-8.30740657408148e-05</c:v>
                </c:pt>
                <c:pt idx="25">
                  <c:v>0.00013642660470200436</c:v>
                </c:pt>
                <c:pt idx="26">
                  <c:v>-9.932687093893644e-05</c:v>
                </c:pt>
                <c:pt idx="27">
                  <c:v>9.578483612134728e-05</c:v>
                </c:pt>
                <c:pt idx="28">
                  <c:v>8.602925076833305e-05</c:v>
                </c:pt>
                <c:pt idx="29">
                  <c:v>0.00013236828119515047</c:v>
                </c:pt>
                <c:pt idx="30">
                  <c:v>0.0005347861770069857</c:v>
                </c:pt>
                <c:pt idx="31">
                  <c:v>6.325971455439796e-05</c:v>
                </c:pt>
                <c:pt idx="32">
                  <c:v>0.00014456276288641817</c:v>
                </c:pt>
                <c:pt idx="33">
                  <c:v>-1.7710174087945873e-06</c:v>
                </c:pt>
                <c:pt idx="34">
                  <c:v>-9.932687093893644e-05</c:v>
                </c:pt>
                <c:pt idx="35">
                  <c:v>5.676249470929051e-05</c:v>
                </c:pt>
                <c:pt idx="36">
                  <c:v>0.00016895172626895367</c:v>
                </c:pt>
                <c:pt idx="37">
                  <c:v>0.00020959349484961075</c:v>
                </c:pt>
                <c:pt idx="38">
                  <c:v>0.0005347861770069857</c:v>
                </c:pt>
                <c:pt idx="39">
                  <c:v>0.0004906519088699495</c:v>
                </c:pt>
                <c:pt idx="40">
                  <c:v>0.0005193138186371051</c:v>
                </c:pt>
                <c:pt idx="41">
                  <c:v>0.0005256549491165643</c:v>
                </c:pt>
                <c:pt idx="42">
                  <c:v>0.0005299083843304785</c:v>
                </c:pt>
                <c:pt idx="43">
                  <c:v>0.0005329716381313249</c:v>
                </c:pt>
                <c:pt idx="44">
                  <c:v>0.0005327960375949707</c:v>
                </c:pt>
                <c:pt idx="45">
                  <c:v>0.0005324253253515561</c:v>
                </c:pt>
                <c:pt idx="46">
                  <c:v>0.0005328545711070888</c:v>
                </c:pt>
                <c:pt idx="47">
                  <c:v>0.0005319375460839054</c:v>
                </c:pt>
                <c:pt idx="48">
                  <c:v>0.000514357981277774</c:v>
                </c:pt>
                <c:pt idx="49">
                  <c:v>0.0005294596274042399</c:v>
                </c:pt>
                <c:pt idx="50">
                  <c:v>0.0005319180349131994</c:v>
                </c:pt>
                <c:pt idx="51">
                  <c:v>0.0006099748664482642</c:v>
                </c:pt>
                <c:pt idx="52">
                  <c:v>0.0013705299873484752</c:v>
                </c:pt>
                <c:pt idx="53">
                  <c:v>0.000609974866448264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0"/>
          <c:min val="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05082007411260808"/>
          <c:min val="2.1722204233521842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0288</c:v>
                </c:pt>
                <c:pt idx="1">
                  <c:v>1.0558</c:v>
                </c:pt>
                <c:pt idx="2">
                  <c:v>1.0594</c:v>
                </c:pt>
                <c:pt idx="3">
                  <c:v>1.0307</c:v>
                </c:pt>
                <c:pt idx="4">
                  <c:v>1.0668</c:v>
                </c:pt>
                <c:pt idx="5">
                  <c:v>1.0985</c:v>
                </c:pt>
                <c:pt idx="6">
                  <c:v>1.0967</c:v>
                </c:pt>
                <c:pt idx="7">
                  <c:v>1.0937</c:v>
                </c:pt>
                <c:pt idx="8">
                  <c:v>1.0925</c:v>
                </c:pt>
                <c:pt idx="9">
                  <c:v>1.0485</c:v>
                </c:pt>
                <c:pt idx="10">
                  <c:v>1.0056</c:v>
                </c:pt>
                <c:pt idx="11">
                  <c:v>1.0102</c:v>
                </c:pt>
                <c:pt idx="12">
                  <c:v>1.0394</c:v>
                </c:pt>
                <c:pt idx="13">
                  <c:v>1.0607</c:v>
                </c:pt>
                <c:pt idx="14">
                  <c:v>1.0463</c:v>
                </c:pt>
                <c:pt idx="15">
                  <c:v>1.042</c:v>
                </c:pt>
                <c:pt idx="16">
                  <c:v>1.0675</c:v>
                </c:pt>
                <c:pt idx="17">
                  <c:v>1.0817</c:v>
                </c:pt>
                <c:pt idx="18">
                  <c:v>1.0806</c:v>
                </c:pt>
                <c:pt idx="19">
                  <c:v>1.0362</c:v>
                </c:pt>
                <c:pt idx="20">
                  <c:v>1.0182</c:v>
                </c:pt>
                <c:pt idx="21">
                  <c:v>0.9691</c:v>
                </c:pt>
                <c:pt idx="22">
                  <c:v>0.9096</c:v>
                </c:pt>
                <c:pt idx="23">
                  <c:v>0.9172</c:v>
                </c:pt>
                <c:pt idx="24">
                  <c:v>0.924</c:v>
                </c:pt>
                <c:pt idx="25">
                  <c:v>1.0104</c:v>
                </c:pt>
                <c:pt idx="26">
                  <c:v>1.0802</c:v>
                </c:pt>
                <c:pt idx="27">
                  <c:v>1.0906</c:v>
                </c:pt>
                <c:pt idx="28">
                  <c:v>1.1064</c:v>
                </c:pt>
                <c:pt idx="29">
                  <c:v>1.105</c:v>
                </c:pt>
                <c:pt idx="30">
                  <c:v>1.1066</c:v>
                </c:pt>
                <c:pt idx="31">
                  <c:v>1.1083</c:v>
                </c:pt>
                <c:pt idx="32">
                  <c:v>1.1066</c:v>
                </c:pt>
                <c:pt idx="33">
                  <c:v>1.0894</c:v>
                </c:pt>
                <c:pt idx="34">
                  <c:v>1.0927</c:v>
                </c:pt>
                <c:pt idx="35">
                  <c:v>1.0952</c:v>
                </c:pt>
                <c:pt idx="36">
                  <c:v>1.1035</c:v>
                </c:pt>
                <c:pt idx="37">
                  <c:v>1.115</c:v>
                </c:pt>
                <c:pt idx="38">
                  <c:v>1.1128</c:v>
                </c:pt>
                <c:pt idx="39">
                  <c:v>1.1165</c:v>
                </c:pt>
                <c:pt idx="40">
                  <c:v>1.1162</c:v>
                </c:pt>
                <c:pt idx="41">
                  <c:v>1.0911</c:v>
                </c:pt>
                <c:pt idx="42">
                  <c:v>1.0531</c:v>
                </c:pt>
                <c:pt idx="43">
                  <c:v>1.0261</c:v>
                </c:pt>
                <c:pt idx="44">
                  <c:v>0.9373</c:v>
                </c:pt>
                <c:pt idx="45">
                  <c:v>0.9328</c:v>
                </c:pt>
                <c:pt idx="46">
                  <c:v>0.9411</c:v>
                </c:pt>
                <c:pt idx="47">
                  <c:v>1.0648</c:v>
                </c:pt>
                <c:pt idx="48">
                  <c:v>1.0663</c:v>
                </c:pt>
                <c:pt idx="49">
                  <c:v>1.0783</c:v>
                </c:pt>
                <c:pt idx="50">
                  <c:v>1.0816</c:v>
                </c:pt>
                <c:pt idx="51">
                  <c:v>0.9804</c:v>
                </c:pt>
                <c:pt idx="52">
                  <c:v>0.8886</c:v>
                </c:pt>
                <c:pt idx="53">
                  <c:v>0.8866</c:v>
                </c:pt>
                <c:pt idx="54">
                  <c:v>0.8895</c:v>
                </c:pt>
                <c:pt idx="55">
                  <c:v>0.981</c:v>
                </c:pt>
                <c:pt idx="56">
                  <c:v>1.0908</c:v>
                </c:pt>
                <c:pt idx="57">
                  <c:v>1.121</c:v>
                </c:pt>
                <c:pt idx="58">
                  <c:v>1.1208</c:v>
                </c:pt>
                <c:pt idx="59">
                  <c:v>1.1167</c:v>
                </c:pt>
                <c:pt idx="60">
                  <c:v>1.0919</c:v>
                </c:pt>
                <c:pt idx="61">
                  <c:v>1.0795</c:v>
                </c:pt>
                <c:pt idx="62">
                  <c:v>1.0712</c:v>
                </c:pt>
                <c:pt idx="63">
                  <c:v>1.0718</c:v>
                </c:pt>
                <c:pt idx="64">
                  <c:v>1.0712</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numCache>
            </c:numRef>
          </c:xVal>
          <c:yVal>
            <c:numRef>
              <c:f>Sheet1!$B$69:$B$120</c:f>
              <c:numCache>
                <c:formatCode>General</c:formatCode>
                <c:ptCount val="52"/>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045940725664084</c:v>
                </c:pt>
                <c:pt idx="46">
                  <c:v>0.12469824482476523</c:v>
                </c:pt>
                <c:pt idx="47">
                  <c:v>0.14959375539016215</c:v>
                </c:pt>
                <c:pt idx="48">
                  <c:v>0.1727678888022126</c:v>
                </c:pt>
                <c:pt idx="49">
                  <c:v>0.18135707111942834</c:v>
                </c:pt>
                <c:pt idx="50">
                  <c:v>0.18943809817465748</c:v>
                </c:pt>
                <c:pt idx="51">
                  <c:v>0.184436605318952</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0.8210936462818974</c:v>
                </c:pt>
              </c:numCache>
            </c:numRef>
          </c:xVal>
          <c:yVal>
            <c:numRef>
              <c:f>Sheet1!$B$123:$B$124</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0.8210936462818974</c:v>
                </c:pt>
                <c:pt idx="1">
                  <c:v>0.8210936462818974</c:v>
                </c:pt>
              </c:numCache>
            </c:numRef>
          </c:xVal>
          <c:yVal>
            <c:numRef>
              <c:f>Sheet1!$B$127:$B$128</c:f>
              <c:numCache>
                <c:formatCode>General</c:formatCode>
                <c:ptCount val="2"/>
                <c:pt idx="0">
                  <c:v>0.196889319387042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0.855884518602519</c:v>
                </c:pt>
              </c:numCache>
            </c:numRef>
          </c:xVal>
          <c:yVal>
            <c:numRef>
              <c:f>Sheet1!$B$131:$B$132</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0.855884518602519</c:v>
                </c:pt>
                <c:pt idx="1">
                  <c:v>0.855884518602519</c:v>
                </c:pt>
              </c:numCache>
            </c:numRef>
          </c:xVal>
          <c:yVal>
            <c:numRef>
              <c:f>Sheet1!$B$135:$B$136</c:f>
              <c:numCache>
                <c:formatCode>General</c:formatCode>
                <c:ptCount val="2"/>
                <c:pt idx="0">
                  <c:v>0.185607272330652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0.855884518602519</c:v>
                </c:pt>
              </c:numCache>
            </c:numRef>
          </c:xVal>
          <c:yVal>
            <c:numRef>
              <c:f>Sheet1!$B$139:$B$140</c:f>
              <c:numCache>
                <c:formatCode>General</c:formatCode>
                <c:ptCount val="2"/>
                <c:pt idx="0">
                  <c:v>0.18560727233065222</c:v>
                </c:pt>
                <c:pt idx="1">
                  <c:v>0.18560727233065222</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0.855884518602519</c:v>
                </c:pt>
                <c:pt idx="1">
                  <c:v>0.855884518602519</c:v>
                </c:pt>
              </c:numCache>
            </c:numRef>
          </c:xVal>
          <c:yVal>
            <c:numRef>
              <c:f>Sheet1!$B$143:$B$144</c:f>
              <c:numCache>
                <c:formatCode>General</c:formatCode>
                <c:ptCount val="2"/>
                <c:pt idx="0">
                  <c:v>0.1856072723306522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0119</c:v>
                </c:pt>
                <c:pt idx="1">
                  <c:v>0.9442</c:v>
                </c:pt>
                <c:pt idx="2">
                  <c:v>0.9479</c:v>
                </c:pt>
                <c:pt idx="3">
                  <c:v>0.9979</c:v>
                </c:pt>
                <c:pt idx="4">
                  <c:v>1.0184</c:v>
                </c:pt>
                <c:pt idx="5">
                  <c:v>1.0152</c:v>
                </c:pt>
                <c:pt idx="6">
                  <c:v>0.9923</c:v>
                </c:pt>
                <c:pt idx="7">
                  <c:v>0.9755</c:v>
                </c:pt>
                <c:pt idx="8">
                  <c:v>0.9103</c:v>
                </c:pt>
                <c:pt idx="9">
                  <c:v>0.8276</c:v>
                </c:pt>
                <c:pt idx="10">
                  <c:v>0.8268</c:v>
                </c:pt>
                <c:pt idx="11">
                  <c:v>0.8239</c:v>
                </c:pt>
                <c:pt idx="12">
                  <c:v>0.8246</c:v>
                </c:pt>
                <c:pt idx="13">
                  <c:v>0.8841</c:v>
                </c:pt>
                <c:pt idx="14">
                  <c:v>0.9962</c:v>
                </c:pt>
                <c:pt idx="15">
                  <c:v>1.0149</c:v>
                </c:pt>
                <c:pt idx="16">
                  <c:v>1.0167</c:v>
                </c:pt>
                <c:pt idx="17">
                  <c:v>0.979</c:v>
                </c:pt>
                <c:pt idx="18">
                  <c:v>0.9043</c:v>
                </c:pt>
                <c:pt idx="19">
                  <c:v>0.9257</c:v>
                </c:pt>
                <c:pt idx="20">
                  <c:v>0.961</c:v>
                </c:pt>
                <c:pt idx="21">
                  <c:v>1.0104</c:v>
                </c:pt>
                <c:pt idx="22">
                  <c:v>1.0117</c:v>
                </c:pt>
                <c:pt idx="23">
                  <c:v>1.0137</c:v>
                </c:pt>
                <c:pt idx="24">
                  <c:v>1.0131</c:v>
                </c:pt>
                <c:pt idx="25">
                  <c:v>1.013</c:v>
                </c:pt>
                <c:pt idx="26">
                  <c:v>1.0117</c:v>
                </c:pt>
                <c:pt idx="27">
                  <c:v>1.0098</c:v>
                </c:pt>
                <c:pt idx="28">
                  <c:v>0.9671</c:v>
                </c:pt>
                <c:pt idx="29">
                  <c:v>0.9421</c:v>
                </c:pt>
                <c:pt idx="30">
                  <c:v>0.8666</c:v>
                </c:pt>
                <c:pt idx="31">
                  <c:v>0.8265</c:v>
                </c:pt>
                <c:pt idx="32">
                  <c:v>0.8382</c:v>
                </c:pt>
                <c:pt idx="33">
                  <c:v>0.8355</c:v>
                </c:pt>
                <c:pt idx="34">
                  <c:v>0.8325</c:v>
                </c:pt>
                <c:pt idx="35">
                  <c:v>0.9293</c:v>
                </c:pt>
                <c:pt idx="36">
                  <c:v>0.9928</c:v>
                </c:pt>
                <c:pt idx="37">
                  <c:v>0.9669</c:v>
                </c:pt>
                <c:pt idx="38">
                  <c:v>0.9487</c:v>
                </c:pt>
                <c:pt idx="39">
                  <c:v>0.8758</c:v>
                </c:pt>
                <c:pt idx="40">
                  <c:v>0.6968</c:v>
                </c:pt>
                <c:pt idx="41">
                  <c:v>0.6991</c:v>
                </c:pt>
                <c:pt idx="42">
                  <c:v>0.6977</c:v>
                </c:pt>
                <c:pt idx="43">
                  <c:v>0.8301</c:v>
                </c:pt>
                <c:pt idx="44">
                  <c:v>1.0123</c:v>
                </c:pt>
                <c:pt idx="45">
                  <c:v>1.0112</c:v>
                </c:pt>
                <c:pt idx="46">
                  <c:v>1.0036</c:v>
                </c:pt>
                <c:pt idx="47">
                  <c:v>0.9856</c:v>
                </c:pt>
                <c:pt idx="48">
                  <c:v>0.9826</c:v>
                </c:pt>
                <c:pt idx="49">
                  <c:v>0.8961</c:v>
                </c:pt>
                <c:pt idx="50">
                  <c:v>0.8003</c:v>
                </c:pt>
                <c:pt idx="51">
                  <c:v>0.8043</c:v>
                </c:pt>
                <c:pt idx="52">
                  <c:v>0.855884518602519</c:v>
                </c:pt>
                <c:pt idx="53">
                  <c:v>0.8210936462818974</c:v>
                </c:pt>
                <c:pt idx="54">
                  <c:v>0.855884518602519</c:v>
                </c:pt>
              </c:numCache>
            </c:numRef>
          </c:xVal>
          <c:yVal>
            <c:numRef>
              <c:f>Sheet1!$B$147:$B$201</c:f>
              <c:numCache>
                <c:formatCode>General</c:formatCode>
                <c:ptCount val="55"/>
                <c:pt idx="0">
                  <c:v>0.13501428959568318</c:v>
                </c:pt>
                <c:pt idx="1">
                  <c:v>0.15696816814976816</c:v>
                </c:pt>
                <c:pt idx="2">
                  <c:v>0.15576832545183444</c:v>
                </c:pt>
                <c:pt idx="3">
                  <c:v>0.13955423493921626</c:v>
                </c:pt>
                <c:pt idx="4">
                  <c:v>0.1329064578290428</c:v>
                </c:pt>
                <c:pt idx="5">
                  <c:v>0.13394415962185036</c:v>
                </c:pt>
                <c:pt idx="6">
                  <c:v>0.1413702130766295</c:v>
                </c:pt>
                <c:pt idx="7">
                  <c:v>0.14681814748886918</c:v>
                </c:pt>
                <c:pt idx="8">
                  <c:v>0.1679613215173233</c:v>
                </c:pt>
                <c:pt idx="9">
                  <c:v>0.19477942722519376</c:v>
                </c:pt>
                <c:pt idx="10">
                  <c:v>0.19503885267339566</c:v>
                </c:pt>
                <c:pt idx="11">
                  <c:v>0.19597926992312747</c:v>
                </c:pt>
                <c:pt idx="12">
                  <c:v>0.19575227265595085</c:v>
                </c:pt>
                <c:pt idx="13">
                  <c:v>0.1764575049459352</c:v>
                </c:pt>
                <c:pt idx="14">
                  <c:v>0.14010551401664528</c:v>
                </c:pt>
                <c:pt idx="15">
                  <c:v>0.13404144416492608</c:v>
                </c:pt>
                <c:pt idx="16">
                  <c:v>0.13345773690647184</c:v>
                </c:pt>
                <c:pt idx="17">
                  <c:v>0.1456831611529859</c:v>
                </c:pt>
                <c:pt idx="18">
                  <c:v>0.16990701237883749</c:v>
                </c:pt>
                <c:pt idx="19">
                  <c:v>0.16296738163943691</c:v>
                </c:pt>
                <c:pt idx="20">
                  <c:v>0.1515202337375285</c:v>
                </c:pt>
                <c:pt idx="21">
                  <c:v>0.1355007123110617</c:v>
                </c:pt>
                <c:pt idx="22">
                  <c:v>0.13507914595773363</c:v>
                </c:pt>
                <c:pt idx="23">
                  <c:v>0.13443058233722888</c:v>
                </c:pt>
                <c:pt idx="24">
                  <c:v>0.13462515142338038</c:v>
                </c:pt>
                <c:pt idx="25">
                  <c:v>0.1346575796044056</c:v>
                </c:pt>
                <c:pt idx="26">
                  <c:v>0.13507914595773363</c:v>
                </c:pt>
                <c:pt idx="27">
                  <c:v>0.1356952813972131</c:v>
                </c:pt>
                <c:pt idx="28">
                  <c:v>0.14954211469498907</c:v>
                </c:pt>
                <c:pt idx="29">
                  <c:v>0.15764915995129813</c:v>
                </c:pt>
                <c:pt idx="30">
                  <c:v>0.18213243662535156</c:v>
                </c:pt>
                <c:pt idx="31">
                  <c:v>0.19513613721647133</c:v>
                </c:pt>
                <c:pt idx="32">
                  <c:v>0.19134204003651872</c:v>
                </c:pt>
                <c:pt idx="33">
                  <c:v>0.19221760092420004</c:v>
                </c:pt>
                <c:pt idx="34">
                  <c:v>0.19319044635495713</c:v>
                </c:pt>
                <c:pt idx="35">
                  <c:v>0.16179996712252837</c:v>
                </c:pt>
                <c:pt idx="36">
                  <c:v>0.14120807217150327</c:v>
                </c:pt>
                <c:pt idx="37">
                  <c:v>0.14960697105703952</c:v>
                </c:pt>
                <c:pt idx="38">
                  <c:v>0.15550890000363254</c:v>
                </c:pt>
                <c:pt idx="39">
                  <c:v>0.17914904397102982</c:v>
                </c:pt>
                <c:pt idx="40">
                  <c:v>0.23719548800620288</c:v>
                </c:pt>
                <c:pt idx="41">
                  <c:v>0.2364496398426224</c:v>
                </c:pt>
                <c:pt idx="42">
                  <c:v>0.23690363437697576</c:v>
                </c:pt>
                <c:pt idx="43">
                  <c:v>0.19396872269956283</c:v>
                </c:pt>
                <c:pt idx="44">
                  <c:v>0.13488457687158223</c:v>
                </c:pt>
                <c:pt idx="45">
                  <c:v>0.1352412868628598</c:v>
                </c:pt>
                <c:pt idx="46">
                  <c:v>0.13770582862077774</c:v>
                </c:pt>
                <c:pt idx="47">
                  <c:v>0.14354290120532032</c:v>
                </c:pt>
                <c:pt idx="48">
                  <c:v>0.1445157466360774</c:v>
                </c:pt>
                <c:pt idx="49">
                  <c:v>0.17256612322290682</c:v>
                </c:pt>
                <c:pt idx="50">
                  <c:v>0.20363232064508324</c:v>
                </c:pt>
                <c:pt idx="51">
                  <c:v>0.2023351934040738</c:v>
                </c:pt>
                <c:pt idx="52">
                  <c:v>0.18560727233065222</c:v>
                </c:pt>
                <c:pt idx="53">
                  <c:v>0.19688931938704224</c:v>
                </c:pt>
                <c:pt idx="54">
                  <c:v>0.1856072723306522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7422523285351394</c:v>
                </c:pt>
                <c:pt idx="1">
                  <c:v>1.784953508030431</c:v>
                </c:pt>
                <c:pt idx="2">
                  <c:v>1.7615563684735613</c:v>
                </c:pt>
                <c:pt idx="3">
                  <c:v>1.7308144416456757</c:v>
                </c:pt>
                <c:pt idx="4">
                  <c:v>1.8491939677587104</c:v>
                </c:pt>
                <c:pt idx="5">
                  <c:v>1.8858369098712446</c:v>
                </c:pt>
                <c:pt idx="6">
                  <c:v>1.9828240824444041</c:v>
                </c:pt>
                <c:pt idx="7">
                  <c:v>2.081255946717412</c:v>
                </c:pt>
                <c:pt idx="8">
                  <c:v>2.0235228746064085</c:v>
                </c:pt>
                <c:pt idx="9">
                  <c:v>1.7834665759482906</c:v>
                </c:pt>
                <c:pt idx="10">
                  <c:v>1.5416219530890696</c:v>
                </c:pt>
                <c:pt idx="11">
                  <c:v>1.593124112915944</c:v>
                </c:pt>
                <c:pt idx="12">
                  <c:v>1.6889827754306146</c:v>
                </c:pt>
                <c:pt idx="13">
                  <c:v>1.729214215846104</c:v>
                </c:pt>
                <c:pt idx="14">
                  <c:v>1.8440253789213958</c:v>
                </c:pt>
                <c:pt idx="15">
                  <c:v>1.8188165473904696</c:v>
                </c:pt>
                <c:pt idx="16">
                  <c:v>1.725949878738884</c:v>
                </c:pt>
                <c:pt idx="17">
                  <c:v>1.7560064935064936</c:v>
                </c:pt>
                <c:pt idx="18">
                  <c:v>1.7468477206595536</c:v>
                </c:pt>
                <c:pt idx="19">
                  <c:v>1.6970193252538486</c:v>
                </c:pt>
                <c:pt idx="20">
                  <c:v>1.6364513018322084</c:v>
                </c:pt>
                <c:pt idx="21">
                  <c:v>1.5983836384628072</c:v>
                </c:pt>
                <c:pt idx="22">
                  <c:v>1.5054617676266138</c:v>
                </c:pt>
                <c:pt idx="23">
                  <c:v>1.5279027153090123</c:v>
                </c:pt>
                <c:pt idx="24">
                  <c:v>1.8004676539360873</c:v>
                </c:pt>
                <c:pt idx="25">
                  <c:v>2.027287319422151</c:v>
                </c:pt>
                <c:pt idx="26">
                  <c:v>2.0567402894135567</c:v>
                </c:pt>
                <c:pt idx="27">
                  <c:v>1.9558823529411766</c:v>
                </c:pt>
                <c:pt idx="28">
                  <c:v>1.8651382333108566</c:v>
                </c:pt>
                <c:pt idx="29">
                  <c:v>1.9372370266479662</c:v>
                </c:pt>
                <c:pt idx="30">
                  <c:v>2.0439601034355377</c:v>
                </c:pt>
                <c:pt idx="31">
                  <c:v>1.9049501546923342</c:v>
                </c:pt>
                <c:pt idx="32">
                  <c:v>1.755671902268761</c:v>
                </c:pt>
                <c:pt idx="33">
                  <c:v>1.7576637625040334</c:v>
                </c:pt>
                <c:pt idx="34">
                  <c:v>1.7235015772870663</c:v>
                </c:pt>
                <c:pt idx="35">
                  <c:v>1.7805234921151032</c:v>
                </c:pt>
                <c:pt idx="36">
                  <c:v>1.8161619486504277</c:v>
                </c:pt>
                <c:pt idx="37">
                  <c:v>1.794624175116691</c:v>
                </c:pt>
                <c:pt idx="38">
                  <c:v>1.8114927559824192</c:v>
                </c:pt>
                <c:pt idx="39">
                  <c:v>1.8381626605202501</c:v>
                </c:pt>
                <c:pt idx="40">
                  <c:v>1.8440442755658355</c:v>
                </c:pt>
                <c:pt idx="41">
                  <c:v>1.7283383494376683</c:v>
                </c:pt>
                <c:pt idx="42">
                  <c:v>1.6521807342328207</c:v>
                </c:pt>
                <c:pt idx="43">
                  <c:v>1.6454457985888389</c:v>
                </c:pt>
                <c:pt idx="44">
                  <c:v>1.542372881355932</c:v>
                </c:pt>
                <c:pt idx="45">
                  <c:v>1.4717576522562321</c:v>
                </c:pt>
                <c:pt idx="46">
                  <c:v>1.4995219885277247</c:v>
                </c:pt>
                <c:pt idx="47">
                  <c:v>1.7282908618730726</c:v>
                </c:pt>
                <c:pt idx="48">
                  <c:v>1.7273610886116963</c:v>
                </c:pt>
                <c:pt idx="49">
                  <c:v>1.7587669221986626</c:v>
                </c:pt>
                <c:pt idx="50">
                  <c:v>1.715736040609137</c:v>
                </c:pt>
                <c:pt idx="51">
                  <c:v>1.5167079207920793</c:v>
                </c:pt>
                <c:pt idx="52">
                  <c:v>1.3781017369727044</c:v>
                </c:pt>
                <c:pt idx="53">
                  <c:v>1.3415040096837645</c:v>
                </c:pt>
                <c:pt idx="54">
                  <c:v>1.3896266208404937</c:v>
                </c:pt>
                <c:pt idx="55">
                  <c:v>1.5087665333743463</c:v>
                </c:pt>
                <c:pt idx="56">
                  <c:v>1.7556735876388219</c:v>
                </c:pt>
                <c:pt idx="57">
                  <c:v>1.8428407036001975</c:v>
                </c:pt>
                <c:pt idx="58">
                  <c:v>1.9704641350210972</c:v>
                </c:pt>
                <c:pt idx="59">
                  <c:v>2.078354736646194</c:v>
                </c:pt>
                <c:pt idx="60">
                  <c:v>2.093767976989454</c:v>
                </c:pt>
                <c:pt idx="61">
                  <c:v>2.008745813174544</c:v>
                </c:pt>
                <c:pt idx="62">
                  <c:v>1.755490003277614</c:v>
                </c:pt>
                <c:pt idx="63">
                  <c:v>1.667392657125078</c:v>
                </c:pt>
                <c:pt idx="64">
                  <c:v>1.7296948167285644</c:v>
                </c:pt>
              </c:numCache>
            </c:numRef>
          </c:xVal>
          <c:yVal>
            <c:numRef>
              <c:f>Sheet1!$B$2:$B$66</c:f>
              <c:numCache>
                <c:formatCode>General</c:formatCode>
                <c:ptCount val="65"/>
                <c:pt idx="0">
                  <c:v>0.15799327752862602</c:v>
                </c:pt>
                <c:pt idx="1">
                  <c:v>0.1610313117268295</c:v>
                </c:pt>
                <c:pt idx="2">
                  <c:v>0.16694365032893604</c:v>
                </c:pt>
                <c:pt idx="3">
                  <c:v>0.18365041330015053</c:v>
                </c:pt>
                <c:pt idx="4">
                  <c:v>0.17552601090505474</c:v>
                </c:pt>
                <c:pt idx="5">
                  <c:v>0.15235005924724526</c:v>
                </c:pt>
                <c:pt idx="6">
                  <c:v>0.15211620089165204</c:v>
                </c:pt>
                <c:pt idx="7">
                  <c:v>0.15566338893723178</c:v>
                </c:pt>
                <c:pt idx="8">
                  <c:v>0.17451816215533766</c:v>
                </c:pt>
                <c:pt idx="9">
                  <c:v>0.19624857544901644</c:v>
                </c:pt>
                <c:pt idx="10">
                  <c:v>0.209229073206372</c:v>
                </c:pt>
                <c:pt idx="11">
                  <c:v>0.19063725232320294</c:v>
                </c:pt>
                <c:pt idx="12">
                  <c:v>0.17882537889671618</c:v>
                </c:pt>
                <c:pt idx="13">
                  <c:v>0.18173031252384106</c:v>
                </c:pt>
                <c:pt idx="14">
                  <c:v>0.2035284513046765</c:v>
                </c:pt>
                <c:pt idx="15">
                  <c:v>0.219209659789729</c:v>
                </c:pt>
                <c:pt idx="16">
                  <c:v>0.19049568293080263</c:v>
                </c:pt>
                <c:pt idx="17">
                  <c:v>0.1731938242172127</c:v>
                </c:pt>
                <c:pt idx="18">
                  <c:v>0.15729112199141196</c:v>
                </c:pt>
                <c:pt idx="19">
                  <c:v>0.17497094246017447</c:v>
                </c:pt>
                <c:pt idx="20">
                  <c:v>0.18096222769296721</c:v>
                </c:pt>
                <c:pt idx="21">
                  <c:v>0.1935363467319877</c:v>
                </c:pt>
                <c:pt idx="22">
                  <c:v>0.22607459641523917</c:v>
                </c:pt>
                <c:pt idx="23">
                  <c:v>0.23849143545127913</c:v>
                </c:pt>
                <c:pt idx="24">
                  <c:v>0.24125117162551116</c:v>
                </c:pt>
                <c:pt idx="25">
                  <c:v>0.24095571094070392</c:v>
                </c:pt>
                <c:pt idx="26">
                  <c:v>0.19543054784314493</c:v>
                </c:pt>
                <c:pt idx="27">
                  <c:v>0.18020228305844926</c:v>
                </c:pt>
                <c:pt idx="28">
                  <c:v>0.1763223914499055</c:v>
                </c:pt>
                <c:pt idx="29">
                  <c:v>0.15564605038050108</c:v>
                </c:pt>
                <c:pt idx="30">
                  <c:v>0.13644125893910217</c:v>
                </c:pt>
                <c:pt idx="31">
                  <c:v>0.14274631453640008</c:v>
                </c:pt>
                <c:pt idx="32">
                  <c:v>0.14214088076952716</c:v>
                </c:pt>
                <c:pt idx="33">
                  <c:v>0.17777126014053757</c:v>
                </c:pt>
                <c:pt idx="34">
                  <c:v>0.17807147172720592</c:v>
                </c:pt>
                <c:pt idx="35">
                  <c:v>0.16129963539246114</c:v>
                </c:pt>
                <c:pt idx="36">
                  <c:v>0.15109563366799697</c:v>
                </c:pt>
                <c:pt idx="37">
                  <c:v>0.14350580487871237</c:v>
                </c:pt>
                <c:pt idx="38">
                  <c:v>0.16421112123584727</c:v>
                </c:pt>
                <c:pt idx="39">
                  <c:v>0.17189595392966056</c:v>
                </c:pt>
                <c:pt idx="40">
                  <c:v>0.1770850907276215</c:v>
                </c:pt>
                <c:pt idx="41">
                  <c:v>0.18868283163637053</c:v>
                </c:pt>
                <c:pt idx="42">
                  <c:v>0.20109847445975645</c:v>
                </c:pt>
                <c:pt idx="43">
                  <c:v>0.20133820542473688</c:v>
                </c:pt>
                <c:pt idx="44">
                  <c:v>0.18340751133943908</c:v>
                </c:pt>
                <c:pt idx="45">
                  <c:v>0.18273044894528068</c:v>
                </c:pt>
                <c:pt idx="46">
                  <c:v>0.1892257800447089</c:v>
                </c:pt>
                <c:pt idx="47">
                  <c:v>0.17512363777785747</c:v>
                </c:pt>
                <c:pt idx="48">
                  <c:v>0.15438329249921645</c:v>
                </c:pt>
                <c:pt idx="49">
                  <c:v>0.14959547528548597</c:v>
                </c:pt>
                <c:pt idx="50">
                  <c:v>0.153359064628873</c:v>
                </c:pt>
                <c:pt idx="51">
                  <c:v>0.18512624007277154</c:v>
                </c:pt>
                <c:pt idx="52">
                  <c:v>0.23615930142110564</c:v>
                </c:pt>
                <c:pt idx="53">
                  <c:v>0.22644855070300607</c:v>
                </c:pt>
                <c:pt idx="54">
                  <c:v>0.22271769631556984</c:v>
                </c:pt>
                <c:pt idx="55">
                  <c:v>0.20665480624524063</c:v>
                </c:pt>
                <c:pt idx="56">
                  <c:v>0.17205725157016738</c:v>
                </c:pt>
                <c:pt idx="57">
                  <c:v>0.14181271980011023</c:v>
                </c:pt>
                <c:pt idx="58">
                  <c:v>0.13919778803172686</c:v>
                </c:pt>
                <c:pt idx="59">
                  <c:v>0.14160539611871092</c:v>
                </c:pt>
                <c:pt idx="60">
                  <c:v>0.17280136649551683</c:v>
                </c:pt>
                <c:pt idx="61">
                  <c:v>0.19950452971785143</c:v>
                </c:pt>
                <c:pt idx="62">
                  <c:v>0.17979418217885906</c:v>
                </c:pt>
                <c:pt idx="63">
                  <c:v>0.15096862926280608</c:v>
                </c:pt>
                <c:pt idx="64">
                  <c:v>0.15133181331274723</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19</c:f>
              <c:numCache>
                <c:formatCode>General</c:formatCode>
                <c:ptCount val="51"/>
                <c:pt idx="0">
                  <c:v>1.661576354679803</c:v>
                </c:pt>
                <c:pt idx="1">
                  <c:v>1.755671253253998</c:v>
                </c:pt>
                <c:pt idx="2">
                  <c:v>1.8553532981013896</c:v>
                </c:pt>
                <c:pt idx="3">
                  <c:v>1.9482623975009763</c:v>
                </c:pt>
                <c:pt idx="4">
                  <c:v>2.1919931123547136</c:v>
                </c:pt>
                <c:pt idx="5">
                  <c:v>2.2059973924380705</c:v>
                </c:pt>
                <c:pt idx="6">
                  <c:v>2.2932747862260228</c:v>
                </c:pt>
                <c:pt idx="7">
                  <c:v>2.3253873659118</c:v>
                </c:pt>
                <c:pt idx="8">
                  <c:v>2.170481640438722</c:v>
                </c:pt>
                <c:pt idx="9">
                  <c:v>1.7324680761984508</c:v>
                </c:pt>
                <c:pt idx="10">
                  <c:v>1.8932905885046944</c:v>
                </c:pt>
                <c:pt idx="11">
                  <c:v>1.85062893081761</c:v>
                </c:pt>
                <c:pt idx="12">
                  <c:v>1.919906868451688</c:v>
                </c:pt>
                <c:pt idx="13">
                  <c:v>1.9611801242236027</c:v>
                </c:pt>
                <c:pt idx="14">
                  <c:v>2.1586132177681474</c:v>
                </c:pt>
                <c:pt idx="15">
                  <c:v>2.073340143003064</c:v>
                </c:pt>
                <c:pt idx="16">
                  <c:v>2.0427968655816757</c:v>
                </c:pt>
                <c:pt idx="17">
                  <c:v>2.2992015030530766</c:v>
                </c:pt>
                <c:pt idx="18">
                  <c:v>2.137319782557315</c:v>
                </c:pt>
                <c:pt idx="19">
                  <c:v>1.8803575055860247</c:v>
                </c:pt>
                <c:pt idx="20">
                  <c:v>2.0464224872231687</c:v>
                </c:pt>
                <c:pt idx="21">
                  <c:v>1.8387625113739763</c:v>
                </c:pt>
                <c:pt idx="22">
                  <c:v>2.398530109056425</c:v>
                </c:pt>
                <c:pt idx="23">
                  <c:v>2.635725429017161</c:v>
                </c:pt>
                <c:pt idx="24">
                  <c:v>1.9756240249609982</c:v>
                </c:pt>
                <c:pt idx="25">
                  <c:v>1.975429017160686</c:v>
                </c:pt>
                <c:pt idx="26">
                  <c:v>2.3838360037700284</c:v>
                </c:pt>
                <c:pt idx="27">
                  <c:v>2.2316022099447514</c:v>
                </c:pt>
                <c:pt idx="28">
                  <c:v>2.2448932219127204</c:v>
                </c:pt>
                <c:pt idx="29">
                  <c:v>2.449557982319293</c:v>
                </c:pt>
                <c:pt idx="30">
                  <c:v>1.8305872412336293</c:v>
                </c:pt>
                <c:pt idx="31">
                  <c:v>2.148985959438378</c:v>
                </c:pt>
                <c:pt idx="32">
                  <c:v>2.1794071762870515</c:v>
                </c:pt>
                <c:pt idx="33">
                  <c:v>2.172386895475819</c:v>
                </c:pt>
                <c:pt idx="34">
                  <c:v>2.1645865834633384</c:v>
                </c:pt>
                <c:pt idx="35">
                  <c:v>2.113967242948134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3.5027681660899654</c:v>
                </c:pt>
                <c:pt idx="45">
                  <c:v>2.9824665676077267</c:v>
                </c:pt>
                <c:pt idx="46">
                  <c:v>2.928974739970282</c:v>
                </c:pt>
                <c:pt idx="47">
                  <c:v>2.5548621944877796</c:v>
                </c:pt>
                <c:pt idx="48">
                  <c:v>2.3299531981279253</c:v>
                </c:pt>
                <c:pt idx="49">
                  <c:v>2.080863234529381</c:v>
                </c:pt>
                <c:pt idx="50">
                  <c:v>2.091263650546022</c:v>
                </c:pt>
              </c:numCache>
            </c:numRef>
          </c:xVal>
          <c:yVal>
            <c:numRef>
              <c:f>Sheet1!$B$69:$B$119</c:f>
              <c:numCache>
                <c:formatCode>General</c:formatCode>
                <c:ptCount val="51"/>
                <c:pt idx="0">
                  <c:v>0.16501329717204696</c:v>
                </c:pt>
                <c:pt idx="1">
                  <c:v>0.2056761804648391</c:v>
                </c:pt>
                <c:pt idx="2">
                  <c:v>0.2221342610917828</c:v>
                </c:pt>
                <c:pt idx="3">
                  <c:v>0.19464075426641994</c:v>
                </c:pt>
                <c:pt idx="4">
                  <c:v>0.1629034333219696</c:v>
                </c:pt>
                <c:pt idx="5">
                  <c:v>0.14248903683177805</c:v>
                </c:pt>
                <c:pt idx="6">
                  <c:v>0.14245918503257546</c:v>
                </c:pt>
                <c:pt idx="7">
                  <c:v>0.14486005222705706</c:v>
                </c:pt>
                <c:pt idx="8">
                  <c:v>0.158780008039145</c:v>
                </c:pt>
                <c:pt idx="9">
                  <c:v>0.18450642190687855</c:v>
                </c:pt>
                <c:pt idx="10">
                  <c:v>0.18926023183625132</c:v>
                </c:pt>
                <c:pt idx="11">
                  <c:v>0.19545462051200194</c:v>
                </c:pt>
                <c:pt idx="12">
                  <c:v>0.20176403073094568</c:v>
                </c:pt>
                <c:pt idx="13">
                  <c:v>0.1871944089688335</c:v>
                </c:pt>
                <c:pt idx="14">
                  <c:v>0.14216858015525213</c:v>
                </c:pt>
                <c:pt idx="15">
                  <c:v>0.1384523787770814</c:v>
                </c:pt>
                <c:pt idx="16">
                  <c:v>0.11591885174292635</c:v>
                </c:pt>
                <c:pt idx="17">
                  <c:v>0.1057225872050014</c:v>
                </c:pt>
                <c:pt idx="18">
                  <c:v>0.12991716396099143</c:v>
                </c:pt>
                <c:pt idx="19">
                  <c:v>0.12473539970404582</c:v>
                </c:pt>
                <c:pt idx="20">
                  <c:v>0.14284538093066426</c:v>
                </c:pt>
                <c:pt idx="21">
                  <c:v>0.13209619333503203</c:v>
                </c:pt>
                <c:pt idx="22">
                  <c:v>0.11180759866777787</c:v>
                </c:pt>
                <c:pt idx="23">
                  <c:v>0.11254277307901606</c:v>
                </c:pt>
                <c:pt idx="24">
                  <c:v>0.11210104728117752</c:v>
                </c:pt>
                <c:pt idx="25">
                  <c:v>0.13248274927036727</c:v>
                </c:pt>
                <c:pt idx="26">
                  <c:v>0.1427624223799961</c:v>
                </c:pt>
                <c:pt idx="27">
                  <c:v>0.1462696023828259</c:v>
                </c:pt>
                <c:pt idx="28">
                  <c:v>0.15522618865302798</c:v>
                </c:pt>
                <c:pt idx="29">
                  <c:v>0.1795184750948028</c:v>
                </c:pt>
                <c:pt idx="30">
                  <c:v>0.18421997230240006</c:v>
                </c:pt>
                <c:pt idx="31">
                  <c:v>0.17277078908495358</c:v>
                </c:pt>
                <c:pt idx="32">
                  <c:v>0.16831297482580992</c:v>
                </c:pt>
                <c:pt idx="33">
                  <c:v>0.16721554749490172</c:v>
                </c:pt>
                <c:pt idx="34">
                  <c:v>0.16966296423527616</c:v>
                </c:pt>
                <c:pt idx="35">
                  <c:v>0.14849817564781032</c:v>
                </c:pt>
                <c:pt idx="36">
                  <c:v>0.13417847870293842</c:v>
                </c:pt>
                <c:pt idx="37">
                  <c:v>0.14418490746463597</c:v>
                </c:pt>
                <c:pt idx="38">
                  <c:v>0.15484541552324746</c:v>
                </c:pt>
                <c:pt idx="39">
                  <c:v>0.19989750690749078</c:v>
                </c:pt>
                <c:pt idx="40">
                  <c:v>0.2641430771734038</c:v>
                </c:pt>
                <c:pt idx="41">
                  <c:v>0.26025003887344156</c:v>
                </c:pt>
                <c:pt idx="42">
                  <c:v>0.258734152131504</c:v>
                </c:pt>
                <c:pt idx="43">
                  <c:v>0.18320639095770663</c:v>
                </c:pt>
                <c:pt idx="44">
                  <c:v>0.12391230336811368</c:v>
                </c:pt>
                <c:pt idx="45">
                  <c:v>0.12469824482476523</c:v>
                </c:pt>
                <c:pt idx="46">
                  <c:v>0.14959375539016215</c:v>
                </c:pt>
                <c:pt idx="47">
                  <c:v>0.1727678888022126</c:v>
                </c:pt>
                <c:pt idx="48">
                  <c:v>0.18135707111942834</c:v>
                </c:pt>
                <c:pt idx="49">
                  <c:v>0.18943809817465748</c:v>
                </c:pt>
                <c:pt idx="50">
                  <c:v>0.184436605318952</c:v>
                </c:pt>
              </c:numCache>
            </c:numRef>
          </c:yVal>
          <c:smooth val="0"/>
          <c:extLst>
            <c:ext xmlns:c16="http://schemas.microsoft.com/office/drawing/2014/chart" uri="{C3380CC4-5D6E-409C-BE32-E72D297353CC}">
              <c16:uniqueId val="{00000002-096C-4121-9522-6AB7243CCAAE}"/>
            </c:ext>
          </c:extLst>
        </c:ser>
        <c:ser>
          <c:idx val="2"/>
          <c:order val="2"/>
          <c:tx>
            <c:strRef>
              <c:f>Sheet1!$B$12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2:$A$123</c:f>
              <c:numCache>
                <c:formatCode>General</c:formatCode>
                <c:ptCount val="2"/>
                <c:pt idx="0">
                  <c:v>0</c:v>
                </c:pt>
                <c:pt idx="1">
                  <c:v>1.4455210652148192</c:v>
                </c:pt>
              </c:numCache>
            </c:numRef>
          </c:xVal>
          <c:yVal>
            <c:numRef>
              <c:f>Sheet1!$B$122:$B$123</c:f>
              <c:numCache>
                <c:formatCode>General</c:formatCode>
                <c:ptCount val="2"/>
                <c:pt idx="0">
                  <c:v>0.1968893193870422</c:v>
                </c:pt>
                <c:pt idx="1">
                  <c:v>0.1968893193870422</c:v>
                </c:pt>
              </c:numCache>
            </c:numRef>
          </c:yVal>
          <c:smooth val="0"/>
          <c:extLst>
            <c:ext xmlns:c16="http://schemas.microsoft.com/office/drawing/2014/chart" uri="{C3380CC4-5D6E-409C-BE32-E72D297353CC}">
              <c16:uniqueId val="{00000005-096C-4121-9522-6AB7243CCAAE}"/>
            </c:ext>
          </c:extLst>
        </c:ser>
        <c:ser>
          <c:idx val="3"/>
          <c:order val="3"/>
          <c:tx>
            <c:strRef>
              <c:f>Sheet1!$B$12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6:$A$127</c:f>
              <c:numCache>
                <c:formatCode>General</c:formatCode>
                <c:ptCount val="2"/>
                <c:pt idx="0">
                  <c:v>1.4455210652148192</c:v>
                </c:pt>
                <c:pt idx="1">
                  <c:v>1.4455210652148192</c:v>
                </c:pt>
              </c:numCache>
            </c:numRef>
          </c:xVal>
          <c:yVal>
            <c:numRef>
              <c:f>Sheet1!$B$126:$B$127</c:f>
              <c:numCache>
                <c:formatCode>General</c:formatCode>
                <c:ptCount val="2"/>
                <c:pt idx="0">
                  <c:v>0.196889319387042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2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0:$A$131</c:f>
              <c:numCache>
                <c:formatCode>General</c:formatCode>
                <c:ptCount val="2"/>
                <c:pt idx="0">
                  <c:v>0</c:v>
                </c:pt>
                <c:pt idx="1">
                  <c:v>1.57839786375241</c:v>
                </c:pt>
              </c:numCache>
            </c:numRef>
          </c:xVal>
          <c:yVal>
            <c:numRef>
              <c:f>Sheet1!$B$130:$B$131</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0D-096C-4121-9522-6AB7243CCAAE}"/>
            </c:ext>
          </c:extLst>
        </c:ser>
        <c:ser>
          <c:idx val="5"/>
          <c:order val="5"/>
          <c:tx>
            <c:strRef>
              <c:f>Sheet1!$B$13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4:$A$135</c:f>
              <c:numCache>
                <c:formatCode>General</c:formatCode>
                <c:ptCount val="2"/>
                <c:pt idx="0">
                  <c:v>1.57839786375241</c:v>
                </c:pt>
                <c:pt idx="1">
                  <c:v>1.57839786375241</c:v>
                </c:pt>
              </c:numCache>
            </c:numRef>
          </c:xVal>
          <c:yVal>
            <c:numRef>
              <c:f>Sheet1!$B$134:$B$135</c:f>
              <c:numCache>
                <c:formatCode>General</c:formatCode>
                <c:ptCount val="2"/>
                <c:pt idx="0">
                  <c:v>0.19103626108681984</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8:$A$139</c:f>
              <c:numCache>
                <c:formatCode>General</c:formatCode>
                <c:ptCount val="2"/>
                <c:pt idx="0">
                  <c:v>0</c:v>
                </c:pt>
                <c:pt idx="1">
                  <c:v>1.57839786375241</c:v>
                </c:pt>
              </c:numCache>
            </c:numRef>
          </c:xVal>
          <c:yVal>
            <c:numRef>
              <c:f>Sheet1!$B$138:$B$139</c:f>
              <c:numCache>
                <c:formatCode>General</c:formatCode>
                <c:ptCount val="2"/>
                <c:pt idx="0">
                  <c:v>0.19103626108681984</c:v>
                </c:pt>
                <c:pt idx="1">
                  <c:v>0.19103626108681984</c:v>
                </c:pt>
              </c:numCache>
            </c:numRef>
          </c:yVal>
          <c:smooth val="0"/>
          <c:extLst>
            <c:ext xmlns:c16="http://schemas.microsoft.com/office/drawing/2014/chart" uri="{C3380CC4-5D6E-409C-BE32-E72D297353CC}">
              <c16:uniqueId val="{00000015-096C-4121-9522-6AB7243CCAAE}"/>
            </c:ext>
          </c:extLst>
        </c:ser>
        <c:ser>
          <c:idx val="7"/>
          <c:order val="7"/>
          <c:tx>
            <c:strRef>
              <c:f>Sheet1!$B$14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2:$A$143</c:f>
              <c:numCache>
                <c:formatCode>General</c:formatCode>
                <c:ptCount val="2"/>
                <c:pt idx="0">
                  <c:v>1.57839786375241</c:v>
                </c:pt>
                <c:pt idx="1">
                  <c:v>1.57839786375241</c:v>
                </c:pt>
              </c:numCache>
            </c:numRef>
          </c:xVal>
          <c:yVal>
            <c:numRef>
              <c:f>Sheet1!$B$142:$B$143</c:f>
              <c:numCache>
                <c:formatCode>General</c:formatCode>
                <c:ptCount val="2"/>
                <c:pt idx="0">
                  <c:v>0.191036261086819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6:$A$199</c:f>
              <c:numCache>
                <c:formatCode>General</c:formatCode>
                <c:ptCount val="54"/>
                <c:pt idx="0">
                  <c:v>1.661576354679803</c:v>
                </c:pt>
                <c:pt idx="1">
                  <c:v>1.755671253253998</c:v>
                </c:pt>
                <c:pt idx="2">
                  <c:v>1.8553532981013896</c:v>
                </c:pt>
                <c:pt idx="3">
                  <c:v>1.9482623975009763</c:v>
                </c:pt>
                <c:pt idx="4">
                  <c:v>2.1919931123547136</c:v>
                </c:pt>
                <c:pt idx="5">
                  <c:v>2.2059973924380705</c:v>
                </c:pt>
                <c:pt idx="6">
                  <c:v>2.2932747862260228</c:v>
                </c:pt>
                <c:pt idx="7">
                  <c:v>2.3253873659118</c:v>
                </c:pt>
                <c:pt idx="8">
                  <c:v>2.170481640438722</c:v>
                </c:pt>
                <c:pt idx="9">
                  <c:v>1.7324680761984508</c:v>
                </c:pt>
                <c:pt idx="10">
                  <c:v>1.8932905885046944</c:v>
                </c:pt>
                <c:pt idx="11">
                  <c:v>1.85062893081761</c:v>
                </c:pt>
                <c:pt idx="12">
                  <c:v>1.919906868451688</c:v>
                </c:pt>
                <c:pt idx="13">
                  <c:v>1.9611801242236027</c:v>
                </c:pt>
                <c:pt idx="14">
                  <c:v>2.1586132177681474</c:v>
                </c:pt>
                <c:pt idx="15">
                  <c:v>2.073340143003064</c:v>
                </c:pt>
                <c:pt idx="16">
                  <c:v>2.0427968655816757</c:v>
                </c:pt>
                <c:pt idx="17">
                  <c:v>2.2992015030530766</c:v>
                </c:pt>
                <c:pt idx="18">
                  <c:v>2.137319782557315</c:v>
                </c:pt>
                <c:pt idx="19">
                  <c:v>1.8803575055860247</c:v>
                </c:pt>
                <c:pt idx="20">
                  <c:v>2.0464224872231687</c:v>
                </c:pt>
                <c:pt idx="21">
                  <c:v>1.8387625113739763</c:v>
                </c:pt>
                <c:pt idx="22">
                  <c:v>2.398530109056425</c:v>
                </c:pt>
                <c:pt idx="23">
                  <c:v>2.635725429017161</c:v>
                </c:pt>
                <c:pt idx="24">
                  <c:v>1.9756240249609982</c:v>
                </c:pt>
                <c:pt idx="25">
                  <c:v>1.975429017160686</c:v>
                </c:pt>
                <c:pt idx="26">
                  <c:v>2.3838360037700284</c:v>
                </c:pt>
                <c:pt idx="27">
                  <c:v>2.2316022099447514</c:v>
                </c:pt>
                <c:pt idx="28">
                  <c:v>2.2448932219127204</c:v>
                </c:pt>
                <c:pt idx="29">
                  <c:v>2.449557982319293</c:v>
                </c:pt>
                <c:pt idx="30">
                  <c:v>1.8305872412336293</c:v>
                </c:pt>
                <c:pt idx="31">
                  <c:v>2.148985959438378</c:v>
                </c:pt>
                <c:pt idx="32">
                  <c:v>2.1794071762870515</c:v>
                </c:pt>
                <c:pt idx="33">
                  <c:v>2.172386895475819</c:v>
                </c:pt>
                <c:pt idx="34">
                  <c:v>2.1645865834633384</c:v>
                </c:pt>
                <c:pt idx="35">
                  <c:v>2.1139672429481347</c:v>
                </c:pt>
                <c:pt idx="36">
                  <c:v>2.581383255330213</c:v>
                </c:pt>
                <c:pt idx="37">
                  <c:v>2.514040561622465</c:v>
                </c:pt>
                <c:pt idx="38">
                  <c:v>2.4667186687467497</c:v>
                </c:pt>
                <c:pt idx="39">
                  <c:v>2.277171086843474</c:v>
                </c:pt>
                <c:pt idx="40">
                  <c:v>1.811752470098804</c:v>
                </c:pt>
                <c:pt idx="41">
                  <c:v>1.8177327093083724</c:v>
                </c:pt>
                <c:pt idx="42">
                  <c:v>1.9720180893159978</c:v>
                </c:pt>
                <c:pt idx="43">
                  <c:v>2.8772963604852686</c:v>
                </c:pt>
                <c:pt idx="44">
                  <c:v>3.5027681660899654</c:v>
                </c:pt>
                <c:pt idx="45">
                  <c:v>2.9824665676077267</c:v>
                </c:pt>
                <c:pt idx="46">
                  <c:v>2.928974739970282</c:v>
                </c:pt>
                <c:pt idx="47">
                  <c:v>2.5548621944877796</c:v>
                </c:pt>
                <c:pt idx="48">
                  <c:v>2.3299531981279253</c:v>
                </c:pt>
                <c:pt idx="49">
                  <c:v>2.080863234529381</c:v>
                </c:pt>
                <c:pt idx="50">
                  <c:v>2.091263650546022</c:v>
                </c:pt>
                <c:pt idx="51">
                  <c:v>1.57839786375241</c:v>
                </c:pt>
                <c:pt idx="52">
                  <c:v>1.4455210652148192</c:v>
                </c:pt>
                <c:pt idx="53">
                  <c:v>1.57839786375241</c:v>
                </c:pt>
              </c:numCache>
            </c:numRef>
          </c:xVal>
          <c:yVal>
            <c:numRef>
              <c:f>Sheet1!$B$146:$B$199</c:f>
              <c:numCache>
                <c:formatCode>General</c:formatCode>
                <c:ptCount val="54"/>
                <c:pt idx="0">
                  <c:v>0.18737235164528693</c:v>
                </c:pt>
                <c:pt idx="1">
                  <c:v>0.18322758797571018</c:v>
                </c:pt>
                <c:pt idx="2">
                  <c:v>0.17883671743699753</c:v>
                </c:pt>
                <c:pt idx="3">
                  <c:v>0.17474418675149117</c:v>
                </c:pt>
                <c:pt idx="4">
                  <c:v>0.16400815081975384</c:v>
                </c:pt>
                <c:pt idx="5">
                  <c:v>0.16339127963770667</c:v>
                </c:pt>
                <c:pt idx="6">
                  <c:v>0.15954681860497164</c:v>
                </c:pt>
                <c:pt idx="7">
                  <c:v>0.15813229926720918</c:v>
                </c:pt>
                <c:pt idx="8">
                  <c:v>0.16495570449830124</c:v>
                </c:pt>
                <c:pt idx="9">
                  <c:v>0.1842496591691103</c:v>
                </c:pt>
                <c:pt idx="10">
                  <c:v>0.17716562681074202</c:v>
                </c:pt>
                <c:pt idx="11">
                  <c:v>0.17904481996089905</c:v>
                </c:pt>
                <c:pt idx="12">
                  <c:v>0.17599321266486145</c:v>
                </c:pt>
                <c:pt idx="13">
                  <c:v>0.17417517689840925</c:v>
                </c:pt>
                <c:pt idx="14">
                  <c:v>0.16547849380830182</c:v>
                </c:pt>
                <c:pt idx="15">
                  <c:v>0.16923466707204926</c:v>
                </c:pt>
                <c:pt idx="16">
                  <c:v>0.1705800605899152</c:v>
                </c:pt>
                <c:pt idx="17">
                  <c:v>0.15928575407377102</c:v>
                </c:pt>
                <c:pt idx="18">
                  <c:v>0.16641644324020172</c:v>
                </c:pt>
                <c:pt idx="19">
                  <c:v>0.1777353130852286</c:v>
                </c:pt>
                <c:pt idx="20">
                  <c:v>0.1704203564498715</c:v>
                </c:pt>
                <c:pt idx="21">
                  <c:v>0.1795675210312355</c:v>
                </c:pt>
                <c:pt idx="22">
                  <c:v>0.15491045207811868</c:v>
                </c:pt>
                <c:pt idx="23">
                  <c:v>0.144462292192047</c:v>
                </c:pt>
                <c:pt idx="24">
                  <c:v>0.1735389409713773</c:v>
                </c:pt>
                <c:pt idx="25">
                  <c:v>0.1735475308233062</c:v>
                </c:pt>
                <c:pt idx="26">
                  <c:v>0.15555770920545348</c:v>
                </c:pt>
                <c:pt idx="27">
                  <c:v>0.16226341915880776</c:v>
                </c:pt>
                <c:pt idx="28">
                  <c:v>0.1616779665532841</c:v>
                </c:pt>
                <c:pt idx="29">
                  <c:v>0.15266273750017129</c:v>
                </c:pt>
                <c:pt idx="30">
                  <c:v>0.17992763154923525</c:v>
                </c:pt>
                <c:pt idx="31">
                  <c:v>0.1659025626065842</c:v>
                </c:pt>
                <c:pt idx="32">
                  <c:v>0.16456254570567563</c:v>
                </c:pt>
                <c:pt idx="33">
                  <c:v>0.16487178037511607</c:v>
                </c:pt>
                <c:pt idx="34">
                  <c:v>0.16521537445227213</c:v>
                </c:pt>
                <c:pt idx="35">
                  <c:v>0.16744509366898308</c:v>
                </c:pt>
                <c:pt idx="36">
                  <c:v>0.14685599759623413</c:v>
                </c:pt>
                <c:pt idx="37">
                  <c:v>0.14982235979568131</c:v>
                </c:pt>
                <c:pt idx="38">
                  <c:v>0.15190683053042797</c:v>
                </c:pt>
                <c:pt idx="39">
                  <c:v>0.16025616660531988</c:v>
                </c:pt>
                <c:pt idx="40">
                  <c:v>0.18075727987563053</c:v>
                </c:pt>
                <c:pt idx="41">
                  <c:v>0.18049385774981092</c:v>
                </c:pt>
                <c:pt idx="42">
                  <c:v>0.17369777796767255</c:v>
                </c:pt>
                <c:pt idx="43">
                  <c:v>0.13382139204180854</c:v>
                </c:pt>
                <c:pt idx="44">
                  <c:v>0.1062701341575063</c:v>
                </c:pt>
                <c:pt idx="45">
                  <c:v>0.1291887747564059</c:v>
                </c:pt>
                <c:pt idx="46">
                  <c:v>0.13154502347095356</c:v>
                </c:pt>
                <c:pt idx="47">
                  <c:v>0.14802421745856467</c:v>
                </c:pt>
                <c:pt idx="48">
                  <c:v>0.15793118001656395</c:v>
                </c:pt>
                <c:pt idx="49">
                  <c:v>0.168903284213747</c:v>
                </c:pt>
                <c:pt idx="50">
                  <c:v>0.1684451587775389</c:v>
                </c:pt>
                <c:pt idx="51">
                  <c:v>0.19103626108681984</c:v>
                </c:pt>
                <c:pt idx="52">
                  <c:v>0.1968893193870422</c:v>
                </c:pt>
                <c:pt idx="53">
                  <c:v>0.191036261086819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4.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bg P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31697169260808455"/>
          <c:min val="0.0845780697640011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5/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5/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5/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 Id="rId7" Type="http://schemas.openxmlformats.org/officeDocument/2006/relationships/chart" Target="../charts/chart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 Id="rId7" Type="http://schemas.openxmlformats.org/officeDocument/2006/relationships/chart" Target="../charts/chart4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 Id="rId7" Type="http://schemas.openxmlformats.org/officeDocument/2006/relationships/chart" Target="../charts/chart4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 Id="rId7" Type="http://schemas.openxmlformats.org/officeDocument/2006/relationships/chart" Target="../charts/chart5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 Id="rId7" Type="http://schemas.openxmlformats.org/officeDocument/2006/relationships/chart" Target="../charts/chart54.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 Id="rId7" Type="http://schemas.openxmlformats.org/officeDocument/2006/relationships/chart" Target="../charts/chart56.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 Id="rId7" Type="http://schemas.openxmlformats.org/officeDocument/2006/relationships/chart" Target="../charts/chart6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 Id="rId7" Type="http://schemas.openxmlformats.org/officeDocument/2006/relationships/chart" Target="../charts/chart64.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 Id="rId7" Type="http://schemas.openxmlformats.org/officeDocument/2006/relationships/chart" Target="../charts/chart70.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Manual Shave Men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18290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Bic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750498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System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4430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System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2377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System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2942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8254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Equate vs Bic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71231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99436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91694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Bic | System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413987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Gillette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568644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Manual Shave Men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022208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Pbg Pl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411290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30775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Harry's | Disposable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63607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Gillette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06281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Pbg Pl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645122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Disposables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46107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Harry's | Disposable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96029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Razor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251557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Razor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410126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Razor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13811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Bic | Manual Shave Men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4200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Refill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004273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Refill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70999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Refills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18907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Refill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04947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Refill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0245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Dollar Shave Club | Refills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794477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Gillette | Manual Shave Men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3686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Pbg Pl | Manual Shave Men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36007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Harry's | Manual Shave Men | Bj's And Sam's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18553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Schick vs Bic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9112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Gillette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67344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5/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Cremo vs Harry's | Manual Shave Men | Walmart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44362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485</Words>
  <Application>Microsoft Office PowerPoint</Application>
  <PresentationFormat>On-screen Show (16:9)</PresentationFormat>
  <Paragraphs>455</Paragraphs>
  <Slides>35</Slides>
  <Notes>3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4"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5T07:5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